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30" r:id="rId5"/>
  </p:sldMasterIdLst>
  <p:notesMasterIdLst>
    <p:notesMasterId r:id="rId25"/>
  </p:notesMasterIdLst>
  <p:handoutMasterIdLst>
    <p:handoutMasterId r:id="rId26"/>
  </p:handoutMasterIdLst>
  <p:sldIdLst>
    <p:sldId id="275" r:id="rId6"/>
    <p:sldId id="282" r:id="rId7"/>
    <p:sldId id="274" r:id="rId8"/>
    <p:sldId id="260" r:id="rId9"/>
    <p:sldId id="261" r:id="rId10"/>
    <p:sldId id="278" r:id="rId11"/>
    <p:sldId id="279" r:id="rId12"/>
    <p:sldId id="280" r:id="rId13"/>
    <p:sldId id="281" r:id="rId14"/>
    <p:sldId id="289" r:id="rId15"/>
    <p:sldId id="283" r:id="rId16"/>
    <p:sldId id="287" r:id="rId17"/>
    <p:sldId id="284" r:id="rId18"/>
    <p:sldId id="424" r:id="rId19"/>
    <p:sldId id="425" r:id="rId20"/>
    <p:sldId id="268" r:id="rId21"/>
    <p:sldId id="288" r:id="rId22"/>
    <p:sldId id="298" r:id="rId23"/>
    <p:sldId id="286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31D6"/>
    <a:srgbClr val="0000FF"/>
    <a:srgbClr val="5C5BEE"/>
    <a:srgbClr val="FFFFFF"/>
    <a:srgbClr val="DD0000"/>
    <a:srgbClr val="0A0000"/>
    <a:srgbClr val="020000"/>
    <a:srgbClr val="010000"/>
    <a:srgbClr val="CEFFDF"/>
    <a:srgbClr val="0000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67" autoAdjust="0"/>
    <p:restoredTop sz="79837" autoAdjust="0"/>
  </p:normalViewPr>
  <p:slideViewPr>
    <p:cSldViewPr snapToGrid="0">
      <p:cViewPr varScale="1">
        <p:scale>
          <a:sx n="53" d="100"/>
          <a:sy n="53" d="100"/>
        </p:scale>
        <p:origin x="1112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0" d="100"/>
        <a:sy n="60" d="100"/>
      </p:scale>
      <p:origin x="0" y="-696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jersti Gjærum Stensrud" userId="554a6c0f-50c1-4aa4-b792-1fe07426d547" providerId="ADAL" clId="{E605D211-512C-4FCA-ACE9-E83DBF14F985}"/>
    <pc:docChg chg="modSld">
      <pc:chgData name="Kjersti Gjærum Stensrud" userId="554a6c0f-50c1-4aa4-b792-1fe07426d547" providerId="ADAL" clId="{E605D211-512C-4FCA-ACE9-E83DBF14F985}" dt="2024-03-27T08:39:42.437" v="38" actId="20577"/>
      <pc:docMkLst>
        <pc:docMk/>
      </pc:docMkLst>
      <pc:sldChg chg="modNotesTx">
        <pc:chgData name="Kjersti Gjærum Stensrud" userId="554a6c0f-50c1-4aa4-b792-1fe07426d547" providerId="ADAL" clId="{E605D211-512C-4FCA-ACE9-E83DBF14F985}" dt="2024-03-27T08:34:34.902" v="4" actId="255"/>
        <pc:sldMkLst>
          <pc:docMk/>
          <pc:sldMk cId="2105157783" sldId="260"/>
        </pc:sldMkLst>
      </pc:sldChg>
      <pc:sldChg chg="modNotesTx">
        <pc:chgData name="Kjersti Gjærum Stensrud" userId="554a6c0f-50c1-4aa4-b792-1fe07426d547" providerId="ADAL" clId="{E605D211-512C-4FCA-ACE9-E83DBF14F985}" dt="2024-03-27T08:34:42.139" v="5" actId="255"/>
        <pc:sldMkLst>
          <pc:docMk/>
          <pc:sldMk cId="3191669072" sldId="261"/>
        </pc:sldMkLst>
      </pc:sldChg>
      <pc:sldChg chg="modNotesTx">
        <pc:chgData name="Kjersti Gjærum Stensrud" userId="554a6c0f-50c1-4aa4-b792-1fe07426d547" providerId="ADAL" clId="{E605D211-512C-4FCA-ACE9-E83DBF14F985}" dt="2024-03-27T08:38:52.761" v="35" actId="255"/>
        <pc:sldMkLst>
          <pc:docMk/>
          <pc:sldMk cId="102557442" sldId="268"/>
        </pc:sldMkLst>
      </pc:sldChg>
      <pc:sldChg chg="modNotesTx">
        <pc:chgData name="Kjersti Gjærum Stensrud" userId="554a6c0f-50c1-4aa4-b792-1fe07426d547" providerId="ADAL" clId="{E605D211-512C-4FCA-ACE9-E83DBF14F985}" dt="2024-03-27T08:34:01.075" v="2" actId="2711"/>
        <pc:sldMkLst>
          <pc:docMk/>
          <pc:sldMk cId="759644152" sldId="274"/>
        </pc:sldMkLst>
      </pc:sldChg>
      <pc:sldChg chg="modNotesTx">
        <pc:chgData name="Kjersti Gjærum Stensrud" userId="554a6c0f-50c1-4aa4-b792-1fe07426d547" providerId="ADAL" clId="{E605D211-512C-4FCA-ACE9-E83DBF14F985}" dt="2024-03-27T08:34:50.183" v="6" actId="255"/>
        <pc:sldMkLst>
          <pc:docMk/>
          <pc:sldMk cId="401253710" sldId="278"/>
        </pc:sldMkLst>
      </pc:sldChg>
      <pc:sldChg chg="modSp mod modNotesTx">
        <pc:chgData name="Kjersti Gjærum Stensrud" userId="554a6c0f-50c1-4aa4-b792-1fe07426d547" providerId="ADAL" clId="{E605D211-512C-4FCA-ACE9-E83DBF14F985}" dt="2024-03-27T08:35:33.322" v="10" actId="255"/>
        <pc:sldMkLst>
          <pc:docMk/>
          <pc:sldMk cId="3077545294" sldId="279"/>
        </pc:sldMkLst>
        <pc:spChg chg="mod">
          <ac:chgData name="Kjersti Gjærum Stensrud" userId="554a6c0f-50c1-4aa4-b792-1fe07426d547" providerId="ADAL" clId="{E605D211-512C-4FCA-ACE9-E83DBF14F985}" dt="2024-03-27T08:35:33.322" v="10" actId="255"/>
          <ac:spMkLst>
            <pc:docMk/>
            <pc:sldMk cId="3077545294" sldId="279"/>
            <ac:spMk id="29" creationId="{5B53442C-6900-6DE7-7AA8-991152FF5C4E}"/>
          </ac:spMkLst>
        </pc:spChg>
      </pc:sldChg>
      <pc:sldChg chg="modSp mod modNotesTx">
        <pc:chgData name="Kjersti Gjærum Stensrud" userId="554a6c0f-50c1-4aa4-b792-1fe07426d547" providerId="ADAL" clId="{E605D211-512C-4FCA-ACE9-E83DBF14F985}" dt="2024-03-27T08:37:56.665" v="29" actId="255"/>
        <pc:sldMkLst>
          <pc:docMk/>
          <pc:sldMk cId="1066424833" sldId="280"/>
        </pc:sldMkLst>
        <pc:spChg chg="mod">
          <ac:chgData name="Kjersti Gjærum Stensrud" userId="554a6c0f-50c1-4aa4-b792-1fe07426d547" providerId="ADAL" clId="{E605D211-512C-4FCA-ACE9-E83DBF14F985}" dt="2024-03-27T08:37:15.228" v="28" actId="20577"/>
          <ac:spMkLst>
            <pc:docMk/>
            <pc:sldMk cId="1066424833" sldId="280"/>
            <ac:spMk id="3" creationId="{CDB6293B-6AC3-1006-0817-44132B0AF93A}"/>
          </ac:spMkLst>
        </pc:spChg>
        <pc:spChg chg="mod">
          <ac:chgData name="Kjersti Gjærum Stensrud" userId="554a6c0f-50c1-4aa4-b792-1fe07426d547" providerId="ADAL" clId="{E605D211-512C-4FCA-ACE9-E83DBF14F985}" dt="2024-03-27T08:36:44.075" v="16" actId="20577"/>
          <ac:spMkLst>
            <pc:docMk/>
            <pc:sldMk cId="1066424833" sldId="280"/>
            <ac:spMk id="29" creationId="{5B53442C-6900-6DE7-7AA8-991152FF5C4E}"/>
          </ac:spMkLst>
        </pc:spChg>
      </pc:sldChg>
      <pc:sldChg chg="modNotesTx">
        <pc:chgData name="Kjersti Gjærum Stensrud" userId="554a6c0f-50c1-4aa4-b792-1fe07426d547" providerId="ADAL" clId="{E605D211-512C-4FCA-ACE9-E83DBF14F985}" dt="2024-03-27T08:33:44.387" v="0" actId="255"/>
        <pc:sldMkLst>
          <pc:docMk/>
          <pc:sldMk cId="1554550418" sldId="282"/>
        </pc:sldMkLst>
      </pc:sldChg>
      <pc:sldChg chg="modNotesTx">
        <pc:chgData name="Kjersti Gjærum Stensrud" userId="554a6c0f-50c1-4aa4-b792-1fe07426d547" providerId="ADAL" clId="{E605D211-512C-4FCA-ACE9-E83DBF14F985}" dt="2024-03-27T08:38:13.433" v="32" actId="12"/>
        <pc:sldMkLst>
          <pc:docMk/>
          <pc:sldMk cId="2518052243" sldId="283"/>
        </pc:sldMkLst>
      </pc:sldChg>
      <pc:sldChg chg="modNotesTx">
        <pc:chgData name="Kjersti Gjærum Stensrud" userId="554a6c0f-50c1-4aa4-b792-1fe07426d547" providerId="ADAL" clId="{E605D211-512C-4FCA-ACE9-E83DBF14F985}" dt="2024-03-27T08:39:07.208" v="36" actId="255"/>
        <pc:sldMkLst>
          <pc:docMk/>
          <pc:sldMk cId="1705104887" sldId="288"/>
        </pc:sldMkLst>
      </pc:sldChg>
      <pc:sldChg chg="modNotesTx">
        <pc:chgData name="Kjersti Gjærum Stensrud" userId="554a6c0f-50c1-4aa4-b792-1fe07426d547" providerId="ADAL" clId="{E605D211-512C-4FCA-ACE9-E83DBF14F985}" dt="2024-03-27T08:39:42.437" v="38" actId="20577"/>
        <pc:sldMkLst>
          <pc:docMk/>
          <pc:sldMk cId="1502970890" sldId="298"/>
        </pc:sldMkLst>
      </pc:sldChg>
      <pc:sldChg chg="modNotesTx">
        <pc:chgData name="Kjersti Gjærum Stensrud" userId="554a6c0f-50c1-4aa4-b792-1fe07426d547" providerId="ADAL" clId="{E605D211-512C-4FCA-ACE9-E83DBF14F985}" dt="2024-03-27T08:38:36.204" v="33" actId="20577"/>
        <pc:sldMkLst>
          <pc:docMk/>
          <pc:sldMk cId="3153511454" sldId="42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orskningsparken.no/nyheter/2021/tar-norsk-vaksineteknologi-ut-i-verden/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titan.uio.no/innovasjon/2019/world-wide-web-runder-30-ar.html" TargetMode="External"/><Relationship Id="rId4" Type="http://schemas.openxmlformats.org/officeDocument/2006/relationships/hyperlink" Target="https://www.titan.uio.no/naturvitenskap/2019/hummerens-sexliv-skaper-behov-storre-reservater.html" TargetMode="Externa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3533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noProof="0" dirty="0">
                <a:latin typeface="Arial" panose="020B0604020202020204" pitchFamily="34" charset="0"/>
                <a:cs typeface="Arial" panose="020B0604020202020204" pitchFamily="34" charset="0"/>
              </a:rPr>
              <a:t>UiOs internasjonale samarbeid: </a:t>
            </a:r>
            <a:r>
              <a:rPr lang="en-GB" noProof="0" dirty="0">
                <a:latin typeface="Arial" panose="020B0604020202020204" pitchFamily="34" charset="0"/>
                <a:cs typeface="Arial" panose="020B0604020202020204" pitchFamily="34" charset="0"/>
              </a:rPr>
              <a:t>https://www.uio.no/english/about/global/</a:t>
            </a:r>
          </a:p>
          <a:p>
            <a:pPr algn="l"/>
            <a:endParaRPr lang="en-US" b="0" i="0" u="none" strike="noStrike" dirty="0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356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26 570 søkere med UiO som førstevalg: Omfatter både </a:t>
            </a:r>
            <a:r>
              <a:rPr lang="en-GB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mordna</a:t>
            </a: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ptak</a:t>
            </a: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g </a:t>
            </a:r>
            <a:r>
              <a:rPr lang="en-GB" sz="12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kalopptak</a:t>
            </a:r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3647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Målet er å etablere et inkluderende, forskningsintensivt og tverrfaglig europeisk universit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Samarbeid på tvers av institusjoner, mellom ansatte, mellom studenter, og mellom studenter og ansat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Etablering av forskningsprosjekter og nye studietilbu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Medlemmer: Universitetet i Oslo, Aarhus Universitet, </a:t>
            </a:r>
            <a:r>
              <a:rPr lang="de-DE" noProof="0" dirty="0">
                <a:latin typeface="Arial" panose="020B0604020202020204" pitchFamily="34" charset="0"/>
                <a:cs typeface="Arial" panose="020B0604020202020204" pitchFamily="34" charset="0"/>
              </a:rPr>
              <a:t>Humboldt-Universität zu Berlin</a:t>
            </a: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noProof="0" dirty="0">
                <a:latin typeface="Arial" panose="020B0604020202020204" pitchFamily="34" charset="0"/>
                <a:cs typeface="Arial" panose="020B0604020202020204" pitchFamily="34" charset="0"/>
              </a:rPr>
              <a:t>King’s College London</a:t>
            </a: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r-Cyrl-RS" noProof="0" dirty="0">
                <a:latin typeface="Arial" panose="020B0604020202020204" pitchFamily="34" charset="0"/>
                <a:cs typeface="Arial" panose="020B0604020202020204" pitchFamily="34" charset="0"/>
              </a:rPr>
              <a:t>Univerzitet u Beogradu</a:t>
            </a: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noProof="0" dirty="0">
                <a:latin typeface="Arial" panose="020B0604020202020204" pitchFamily="34" charset="0"/>
                <a:cs typeface="Arial" panose="020B0604020202020204" pitchFamily="34" charset="0"/>
              </a:rPr>
              <a:t>Université catholique de Louvain, Université Paris Cité</a:t>
            </a: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noProof="0" dirty="0">
                <a:latin typeface="Arial" panose="020B0604020202020204" pitchFamily="34" charset="0"/>
                <a:cs typeface="Arial" panose="020B0604020202020204" pitchFamily="34" charset="0"/>
              </a:rPr>
              <a:t>Università di Pisa</a:t>
            </a: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AT" noProof="0" dirty="0">
                <a:latin typeface="Arial" panose="020B0604020202020204" pitchFamily="34" charset="0"/>
                <a:cs typeface="Arial" panose="020B0604020202020204" pitchFamily="34" charset="0"/>
              </a:rPr>
              <a:t>Universität Wien</a:t>
            </a: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9028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Museene ved UiO: https://www.uio.no/om/kultur/museer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UiO bidrar til en kunnskapsbasert offentlig debatt gjennom en omfattende formidlingsvirksomhet i media, møter og arrangementer, museer og i Domus Bibliotheca: https://www.uio.no/om/aktuelt/arrangementer/domus-bibliotheca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Mange forskere deltar i ulik utredningsvirksomhet som for eksempel Norges offentlige utredninger, er i dialog med næringsliv og offentlig sektor og bidrar til mer kunnskap innen en rekke områder i samfunnet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4605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Grunnforskning er langsiktig forskning som har som formål å føre til ny innsikt, uten at den nødvendigvis gir umiddelbar gevinst i økonomi, kunnskap eller bruk. Mange av produktene og tjenestene vi i dag tar for gitt, kunne vi for bare få år siden ikke forestille oss. Innovasjon har ofte sitt utspring i nettopp grunnforskning. Enten det handler om legemidler, vaksiner, datateknologi, undervisningsmetoder, språkmodeller eller ny politikk, lover og regler.</a:t>
            </a:r>
          </a:p>
          <a:p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Tre eksempler:</a:t>
            </a:r>
          </a:p>
          <a:p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Tar norsk vaksineteknologi ut i verden – Forskningsparken</a:t>
            </a:r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ummerens sexliv skaper behov for større reservater - Titan.uio.no</a:t>
            </a:r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orld Wide Web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runde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 30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å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 - Titan.uio.no</a:t>
            </a:r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97663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noProof="0" dirty="0">
                <a:latin typeface="Arial" panose="020B0604020202020204" pitchFamily="34" charset="0"/>
                <a:cs typeface="Arial" panose="020B0604020202020204" pitchFamily="34" charset="0"/>
              </a:rPr>
              <a:t>Virkemidler for innovasjon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 dirty="0">
                <a:latin typeface="Arial" panose="020B0604020202020204" pitchFamily="34" charset="0"/>
                <a:cs typeface="Arial" panose="020B0604020202020204" pitchFamily="34" charset="0"/>
              </a:rPr>
              <a:t>Innovasjon ved UiO – kunnskap i bruk: https://www.uio.no/om/innovasjon/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 dirty="0">
                <a:latin typeface="Arial" panose="020B0604020202020204" pitchFamily="34" charset="0"/>
                <a:cs typeface="Arial" panose="020B0604020202020204" pitchFamily="34" charset="0"/>
              </a:rPr>
              <a:t>Inven2 – Technology Transfer Office – UiO sammen med Oslo universitetssykeh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 dirty="0">
                <a:latin typeface="Arial" panose="020B0604020202020204" pitchFamily="34" charset="0"/>
                <a:cs typeface="Arial" panose="020B0604020202020204" pitchFamily="34" charset="0"/>
              </a:rPr>
              <a:t>Utlysning av programmer, lab-plass, tilrettelegge for studentinnovasjonsaktiviteter etc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56382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0"/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Oslo Science City, </a:t>
            </a:r>
            <a:r>
              <a:rPr lang="nb-NO" sz="1200" b="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rges første innovasjonsdistrikt, etableres i området Majorstua, Marienlyst, Blindern, Gaustad, Ullevaal og Campus Radiumhospitalet: </a:t>
            </a: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https://www.oslosciencecity.no/</a:t>
            </a:r>
          </a:p>
          <a:p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Livsvitenskapsbygget blir arbeidsplass for om lag 1 600 ansatte og 1 600 studenter som skal drive med forskning og undervisning innen livsvitenskap, medisin, kjemi og farmasi. Det skal stå ferdig i 2026/27. </a:t>
            </a:r>
          </a:p>
          <a:p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https://www.uio.no/tjenester/eiendom/vare-byggeprosjekter/livsvitenskapsbygget/</a:t>
            </a:r>
          </a:p>
          <a:p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0197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For UiO er påvirkning på den europeiske arenaen viktig, gitt norske universiteters avhengighet av innretningen på EUs politikk, programmer og utlysninger, i tillegg til at forsknings- og utdanningspolitikken som utformes i Brussel i stor grad påvirker nasjonal politikk og nasjonale virkemidler. </a:t>
            </a:r>
            <a:endParaRPr lang="nb-NO" sz="12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Om The Guild-samarbeidet: https://www.uio.no/om/internasjonalt/the-guild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0793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The Guild skal også bidra til å sette agendaen for den offentlige samtalen. Her er samarbeid med det afrikanske universitetsnettverket ARUA for å styrke forskningskapasiteten til afrikanske universiteter en av hovedmålsetningen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ARUA/The Guild-klynger: UiO leder to av klyngene og er partner i tre. Mer informasjon: </a:t>
            </a:r>
            <a:r>
              <a:rPr lang="en-GB" sz="1200">
                <a:latin typeface="Arial" panose="020B0604020202020204" pitchFamily="34" charset="0"/>
                <a:cs typeface="Arial" panose="020B0604020202020204" pitchFamily="34" charset="0"/>
              </a:rPr>
              <a:t>https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://www.uio.no/om/aktuelt/aktuelle-saker/2023/nyskapende-forskningssamarbeid-med-afrikanske-univ.html</a:t>
            </a:r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Om ARUA – African Research-Universities Alliance: https://arua.org.za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424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913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UiOs historie: https://www.uio.no/om/tall-og-fakta/historie/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621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UiO er med i totalt 30 fremragende sentre: Sentre for fremragende forskning, sentre for fremragende utdanning, sentre for fremragende forskningsdrevet innovasjon, forskningssentre for miljøvennlig energ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UiO er prosjekteier/vertsinstitusjon for 16 fremragende sentr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48 aktive ERC-prosjekter per </a:t>
            </a:r>
            <a:r>
              <a:rPr lang="nb-NO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1.12.2023. Totalt har UiO fått tildelt 105 ERC-prosjekt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belprisvinnere: </a:t>
            </a: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https://www.uio.no/om/tall-og-fakta/nobelpriser/</a:t>
            </a:r>
            <a:endParaRPr lang="nb-NO" sz="12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4667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244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Strategi 2030: https://www.uio.no/om/strategi/strategi-2030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2366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Helhetlig klima- og miljøstrategi: https://www.uio.no/om/strategi/miljo-og-klimastrategi/index.html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4880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Fra årsrapporten for 2023</a:t>
            </a:r>
          </a:p>
          <a:p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Bidrag og oppdrag inkluderer 356 millioner kr fra European Research Council, 1236 millioner kr fra Norges forskningsråd, 1060 millioner kroner i andre bidrags- og oppdragsinntekt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«Øvrige inntekter»: Gaver kr 70 mill., salgs- og leieinntekter kr. 287 mill., andre inntekter kr 27. mill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4212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iO er deltaker i 30 fremragende sentre og prosjektleder/vertskap for 16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sentre for fremragende forsk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 sentre for fremragende utdann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 forskningssenter for miljøvennlig energ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nb-NO" sz="1200" dirty="0">
                <a:latin typeface="Arial" panose="020B0604020202020204" pitchFamily="34" charset="0"/>
                <a:cs typeface="Arial" panose="020B0604020202020204" pitchFamily="34" charset="0"/>
              </a:rPr>
              <a:t> senter for forskningsdrevet innovasjon</a:t>
            </a:r>
          </a:p>
          <a:p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tall internasjonale vitenskapelige sampublikasjoner UiO hadde i 2023 er </a:t>
            </a:r>
            <a:r>
              <a:rPr lang="nb-NO" sz="1200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, 593. 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 tilsvarer 57 % av totalt 6,195 rapporterte publikasjoner. </a:t>
            </a:r>
            <a:endParaRPr lang="nb-NO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nb-NO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913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noProof="0" dirty="0">
                <a:latin typeface="Arial" panose="020B0604020202020204" pitchFamily="34" charset="0"/>
                <a:cs typeface="Arial" panose="020B0604020202020204" pitchFamily="34" charset="0"/>
              </a:rPr>
              <a:t>UiOs tverrfaglige satsinger: </a:t>
            </a:r>
            <a:r>
              <a:rPr lang="en-GB" noProof="0" dirty="0">
                <a:latin typeface="Arial" panose="020B0604020202020204" pitchFamily="34" charset="0"/>
                <a:cs typeface="Arial" panose="020B0604020202020204" pitchFamily="34" charset="0"/>
              </a:rPr>
              <a:t>https://www.uio.no/forskning/satsinger/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113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9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8.png"/><Relationship Id="rId7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7.svg"/><Relationship Id="rId4" Type="http://schemas.openxmlformats.org/officeDocument/2006/relationships/image" Target="../media/image9.svg"/><Relationship Id="rId9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8.png"/><Relationship Id="rId7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7.svg"/><Relationship Id="rId4" Type="http://schemas.openxmlformats.org/officeDocument/2006/relationships/image" Target="../media/image9.svg"/><Relationship Id="rId9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1.svg"/><Relationship Id="rId7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7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27.03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27.03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27.03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  <a:endParaRPr lang="nb-NO" noProof="0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27.03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286724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36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27.03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34468869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5524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64843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409971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295104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76029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222500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397333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7870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48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27.03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191656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00655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913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110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5921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5931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4237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780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8885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970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27.03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6103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4746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7406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6984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32704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FCB1765-242F-4223-91E4-CFCB44427516}" type="datetime1">
              <a:rPr lang="nb-NO" altLang="nb-NO"/>
              <a:pPr/>
              <a:t>27.03.2024</a:t>
            </a:fld>
            <a:endParaRPr lang="nb-NO" altLang="nb-NO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B2E8C4-9A45-457D-A489-12015E914BE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122659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Inndelingstittel"/>
          <p:cNvSpPr txBox="1">
            <a:spLocks noGrp="1"/>
          </p:cNvSpPr>
          <p:nvPr>
            <p:ph type="title" hasCustomPrompt="1"/>
          </p:nvPr>
        </p:nvSpPr>
        <p:spPr>
          <a:xfrm>
            <a:off x="609600" y="1621135"/>
            <a:ext cx="10972800" cy="3302001"/>
          </a:xfrm>
          <a:prstGeom prst="rect">
            <a:avLst/>
          </a:prstGeom>
        </p:spPr>
        <p:txBody>
          <a:bodyPr anchor="ctr"/>
          <a:lstStyle>
            <a:lvl1pPr>
              <a:defRPr sz="6400" spc="0"/>
            </a:lvl1pPr>
          </a:lstStyle>
          <a:p>
            <a:r>
              <a:t>Inndelingstittel</a:t>
            </a:r>
          </a:p>
        </p:txBody>
      </p:sp>
      <p:sp>
        <p:nvSpPr>
          <p:cNvPr id="72" name="Lysbildenummer"/>
          <p:cNvSpPr txBox="1">
            <a:spLocks noGrp="1"/>
          </p:cNvSpPr>
          <p:nvPr>
            <p:ph type="sldNum" sz="quarter" idx="2"/>
          </p:nvPr>
        </p:nvSpPr>
        <p:spPr>
          <a:xfrm>
            <a:off x="6032500" y="6342380"/>
            <a:ext cx="130811" cy="22225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3818806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Høyrestil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ktangel 11"/>
          <p:cNvSpPr/>
          <p:nvPr/>
        </p:nvSpPr>
        <p:spPr>
          <a:xfrm>
            <a:off x="-1" y="1506688"/>
            <a:ext cx="12192001" cy="5351313"/>
          </a:xfrm>
          <a:prstGeom prst="rect">
            <a:avLst/>
          </a:prstGeom>
          <a:solidFill>
            <a:srgbClr val="F4F3F1"/>
          </a:solidFill>
          <a:ln w="12700">
            <a:miter lim="400000"/>
          </a:ln>
        </p:spPr>
        <p:txBody>
          <a:bodyPr lIns="60960" tIns="60960" rIns="60960" bIns="60960" anchor="ctr"/>
          <a:lstStyle/>
          <a:p>
            <a:pPr algn="l" defTabSz="914400">
              <a:defRPr sz="3400" b="0">
                <a:solidFill>
                  <a:srgbClr val="F4F3F1"/>
                </a:solidFill>
                <a:latin typeface="Georgia"/>
                <a:ea typeface="Georgia"/>
                <a:cs typeface="Georgia"/>
                <a:sym typeface="Georgia"/>
              </a:defRPr>
            </a:pPr>
            <a:endParaRPr sz="1700"/>
          </a:p>
        </p:txBody>
      </p:sp>
      <p:sp>
        <p:nvSpPr>
          <p:cNvPr id="118" name="Click to add a title"/>
          <p:cNvSpPr txBox="1">
            <a:spLocks noGrp="1"/>
          </p:cNvSpPr>
          <p:nvPr>
            <p:ph type="title" hasCustomPrompt="1"/>
          </p:nvPr>
        </p:nvSpPr>
        <p:spPr>
          <a:xfrm>
            <a:off x="768097" y="556125"/>
            <a:ext cx="10563606" cy="944437"/>
          </a:xfrm>
          <a:prstGeom prst="rect">
            <a:avLst/>
          </a:prstGeom>
        </p:spPr>
        <p:txBody>
          <a:bodyPr lIns="0" tIns="0" rIns="0" bIns="0"/>
          <a:lstStyle>
            <a:lvl1pPr defTabSz="914377">
              <a:defRPr sz="4800">
                <a:solidFill>
                  <a:srgbClr val="E30613"/>
                </a:solidFill>
                <a:latin typeface="Georgia"/>
                <a:ea typeface="Georgia"/>
                <a:cs typeface="Georgia"/>
                <a:sym typeface="Georgia"/>
              </a:defRPr>
            </a:lvl1pPr>
          </a:lstStyle>
          <a:p>
            <a:r>
              <a:t>Click to add a title</a:t>
            </a:r>
          </a:p>
        </p:txBody>
      </p:sp>
      <p:sp>
        <p:nvSpPr>
          <p:cNvPr id="119" name="Brødtekst nivå én…"/>
          <p:cNvSpPr txBox="1">
            <a:spLocks noGrp="1"/>
          </p:cNvSpPr>
          <p:nvPr>
            <p:ph type="body" sz="half" idx="1"/>
          </p:nvPr>
        </p:nvSpPr>
        <p:spPr>
          <a:xfrm>
            <a:off x="768093" y="1887251"/>
            <a:ext cx="5137983" cy="4130400"/>
          </a:xfrm>
          <a:prstGeom prst="rect">
            <a:avLst/>
          </a:prstGeom>
        </p:spPr>
        <p:txBody>
          <a:bodyPr lIns="0" tIns="0" rIns="0" bIns="0" anchor="t"/>
          <a:lstStyle>
            <a:lvl1pPr marL="233241" indent="-235378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306410" indent="-261563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354799" indent="-264801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437626" indent="-302629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482624" indent="-302629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5pPr>
          </a:lstStyle>
          <a:p>
            <a:r>
              <a:t>Brødtekst nivå én</a:t>
            </a:r>
          </a:p>
          <a:p>
            <a:pPr lvl="1"/>
            <a:r>
              <a:t>Brødtekst nivå to</a:t>
            </a:r>
          </a:p>
          <a:p>
            <a:pPr lvl="2"/>
            <a:r>
              <a:t>Brødtekst nivå tre</a:t>
            </a:r>
          </a:p>
          <a:p>
            <a:pPr lvl="3"/>
            <a:r>
              <a:t>Brødtekst nivå fire</a:t>
            </a:r>
          </a:p>
          <a:p>
            <a:pPr lvl="4"/>
            <a:r>
              <a:t>Brødtekst nivå fem</a:t>
            </a:r>
          </a:p>
        </p:txBody>
      </p:sp>
      <p:sp>
        <p:nvSpPr>
          <p:cNvPr id="120" name="Picture Placeholder 16"/>
          <p:cNvSpPr>
            <a:spLocks noGrp="1"/>
          </p:cNvSpPr>
          <p:nvPr>
            <p:ph type="pic" sz="half" idx="21"/>
          </p:nvPr>
        </p:nvSpPr>
        <p:spPr>
          <a:xfrm>
            <a:off x="6285927" y="1887253"/>
            <a:ext cx="5137983" cy="413038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pic>
        <p:nvPicPr>
          <p:cNvPr id="121" name="Bilde 7" descr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209" y="266469"/>
            <a:ext cx="1410547" cy="91823"/>
          </a:xfrm>
          <a:prstGeom prst="rect">
            <a:avLst/>
          </a:prstGeom>
          <a:ln w="12700">
            <a:miter lim="400000"/>
          </a:ln>
        </p:spPr>
      </p:pic>
      <p:sp>
        <p:nvSpPr>
          <p:cNvPr id="122" name="Lysbildenummer"/>
          <p:cNvSpPr txBox="1">
            <a:spLocks noGrp="1"/>
          </p:cNvSpPr>
          <p:nvPr>
            <p:ph type="sldNum" sz="quarter" idx="2"/>
          </p:nvPr>
        </p:nvSpPr>
        <p:spPr>
          <a:xfrm>
            <a:off x="8410182" y="6159179"/>
            <a:ext cx="327422" cy="394345"/>
          </a:xfrm>
          <a:prstGeom prst="rect">
            <a:avLst/>
          </a:prstGeom>
        </p:spPr>
        <p:txBody>
          <a:bodyPr lIns="243829" tIns="243829" rIns="243829" bIns="243829" anchor="ctr"/>
          <a:lstStyle>
            <a:lvl1pPr algn="r" defTabSz="914400"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234095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27.03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27.03.2024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27.03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27.03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image" Target="../media/image20.sv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image" Target="../media/image19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8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Universitetet i Oslo</a:t>
            </a:r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picker</a:t>
            </a:r>
            <a:endParaRPr lang="nb-NO" dirty="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EA44F5-5292-DAC7-5E20-8F01D590F710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1552838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1.jp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4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8.jp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2.jpg"/><Relationship Id="rId5" Type="http://schemas.openxmlformats.org/officeDocument/2006/relationships/image" Target="../media/image61.jpg"/><Relationship Id="rId4" Type="http://schemas.openxmlformats.org/officeDocument/2006/relationships/image" Target="../media/image60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6.jp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8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29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3.jpeg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3.jpg"/><Relationship Id="rId4" Type="http://schemas.openxmlformats.org/officeDocument/2006/relationships/image" Target="../media/image4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6.jpeg"/><Relationship Id="rId4" Type="http://schemas.openxmlformats.org/officeDocument/2006/relationships/image" Target="../media/image4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E710C362-6A79-8ADB-5BB9-BD9BC06CE267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pic>
        <p:nvPicPr>
          <p:cNvPr id="13" name="Picture Placeholder 12" descr="Tre personer på en benk utenfor Niels Treschows hus på UiOs campus, Blindern.">
            <a:extLst>
              <a:ext uri="{FF2B5EF4-FFF2-40B4-BE49-F238E27FC236}">
                <a16:creationId xmlns:a16="http://schemas.microsoft.com/office/drawing/2014/main" id="{A3A251B6-837F-A7D8-D54E-F644362B09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09880" y="0"/>
            <a:ext cx="5982120" cy="6858000"/>
          </a:xfrm>
        </p:spPr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B509E98-FC87-35B5-0F89-8D5E986EEF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47F8FAF-D64C-757C-FECF-707087C056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50792A5C-3A05-6677-97EC-DC96CDA51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t ledende europeisk universitet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23C5200F-97C3-1480-475B-1B8F90A7775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Undertittel 6">
            <a:extLst>
              <a:ext uri="{FF2B5EF4-FFF2-40B4-BE49-F238E27FC236}">
                <a16:creationId xmlns:a16="http://schemas.microsoft.com/office/drawing/2014/main" id="{EB83BD0A-4C33-9DE4-5D98-4A866CB212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DE37463D-6A2A-9163-DF32-ACDF4C9092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8AE7FBD1-73F6-87D8-380D-8F49938ADB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B241229A-AAE2-ABD0-6805-7D970537D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76F110F4-E124-ED62-3BE2-7C415395777A}"/>
              </a:ext>
            </a:extLst>
          </p:cNvPr>
          <p:cNvSpPr txBox="1"/>
          <p:nvPr/>
        </p:nvSpPr>
        <p:spPr>
          <a:xfrm>
            <a:off x="6209880" y="6627168"/>
            <a:ext cx="13292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Foto: </a:t>
            </a:r>
            <a:r>
              <a:rPr lang="nb-NO" sz="800" dirty="0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</a:t>
            </a:r>
            <a:r>
              <a:rPr lang="nb-NO" sz="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Jordan/UiO</a:t>
            </a:r>
            <a:endParaRPr lang="en-GB" sz="800" dirty="0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90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t </a:t>
            </a:r>
            <a:r>
              <a:rPr lang="nb-NO"/>
              <a:t>globale UiO</a:t>
            </a:r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2055600"/>
            <a:ext cx="511669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Tette forskningssamarbeid i alle verdensdeler</a:t>
            </a:r>
          </a:p>
          <a:p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Programsamarbeid med Norden, Europa, India, Brasil, Sør-Afrika, Kina, Japan og USA</a:t>
            </a:r>
          </a:p>
          <a:p>
            <a:pPr marL="285750" indent="-285750">
              <a:buFont typeface="Wingdings" pitchFamily="2" charset="2"/>
              <a:buChar char="§"/>
            </a:pP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Studentutveksling</a:t>
            </a:r>
          </a:p>
          <a:p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pic>
        <p:nvPicPr>
          <p:cNvPr id="16" name="Picture 15" descr="Nærbilde av globus">
            <a:extLst>
              <a:ext uri="{FF2B5EF4-FFF2-40B4-BE49-F238E27FC236}">
                <a16:creationId xmlns:a16="http://schemas.microsoft.com/office/drawing/2014/main" id="{8FC16EFD-EBBF-3C73-3C7A-63F5DD724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0"/>
            <a:ext cx="6103620" cy="685800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Colourbox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91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To studenter fotografert mot tavla i et auditorium.">
            <a:extLst>
              <a:ext uri="{FF2B5EF4-FFF2-40B4-BE49-F238E27FC236}">
                <a16:creationId xmlns:a16="http://schemas.microsoft.com/office/drawing/2014/main" id="{FD8F8564-B760-6482-F5B6-C1457DB37178}"/>
              </a:ext>
            </a:extLst>
          </p:cNvPr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9170" y="1206801"/>
            <a:ext cx="2978840" cy="2379600"/>
          </a:xfrm>
          <a:prstGeom prst="rect">
            <a:avLst/>
          </a:prstGeom>
        </p:spPr>
      </p:pic>
      <p:pic>
        <p:nvPicPr>
          <p:cNvPr id="2052" name="Picture 4" descr="Tre studenter på lesesalen i Georg Sverdrups hus.">
            <a:extLst>
              <a:ext uri="{FF2B5EF4-FFF2-40B4-BE49-F238E27FC236}">
                <a16:creationId xmlns:a16="http://schemas.microsoft.com/office/drawing/2014/main" id="{EDF6038A-F3CB-F098-7505-ABF146E718CF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84480" y="3578854"/>
            <a:ext cx="2885538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Studenter på forelesning som prater og tar notater.">
            <a:extLst>
              <a:ext uri="{FF2B5EF4-FFF2-40B4-BE49-F238E27FC236}">
                <a16:creationId xmlns:a16="http://schemas.microsoft.com/office/drawing/2014/main" id="{2A1662FA-2DEB-CA5C-6336-99DF6C635A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43606" y="1206803"/>
            <a:ext cx="2865103" cy="2401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Bilde 19" descr="Tre personer gjør et eksperiment med turkis væske og molekylsett.">
            <a:extLst>
              <a:ext uri="{FF2B5EF4-FFF2-40B4-BE49-F238E27FC236}">
                <a16:creationId xmlns:a16="http://schemas.microsoft.com/office/drawing/2014/main" id="{4C6FDD3A-F69B-CD50-9683-D48B6F213CBF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896" y="3578854"/>
            <a:ext cx="2861621" cy="23796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danning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89850" y="1206801"/>
            <a:ext cx="2861251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71767" y="1206800"/>
            <a:ext cx="2875989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230264" y="3578854"/>
            <a:ext cx="2861251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678283" y="1418974"/>
            <a:ext cx="2508684" cy="155747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>
              <a:lnSpc>
                <a:spcPct val="107000"/>
              </a:lnSpc>
            </a:pPr>
            <a:br>
              <a:rPr lang="nb-NO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nb-NO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128</a:t>
            </a:r>
            <a:endParaRPr lang="nb-NO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enter</a:t>
            </a:r>
          </a:p>
          <a:p>
            <a:pPr lvl="0">
              <a:lnSpc>
                <a:spcPct val="107000"/>
              </a:lnSpc>
            </a:pPr>
            <a:endParaRPr lang="nb-NO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 921</a:t>
            </a:r>
            <a:endParaRPr lang="nb-NO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teksaminerte studenter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2335B98-C402-B84C-5BDA-B8C3086EEDB2}"/>
              </a:ext>
            </a:extLst>
          </p:cNvPr>
          <p:cNvSpPr txBox="1"/>
          <p:nvPr/>
        </p:nvSpPr>
        <p:spPr>
          <a:xfrm>
            <a:off x="8921204" y="4528182"/>
            <a:ext cx="2885538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400" dirty="0"/>
              <a:t>Mål om </a:t>
            </a:r>
            <a:r>
              <a:rPr lang="nb-NO" sz="2000" dirty="0"/>
              <a:t>50 prosent </a:t>
            </a:r>
            <a:r>
              <a:rPr lang="nb-NO" sz="1400" dirty="0"/>
              <a:t>utveksling</a:t>
            </a:r>
            <a:endParaRPr lang="nb-NO" sz="14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921A10EF-3E0D-AE54-646C-AA9A993E64E7}"/>
              </a:ext>
            </a:extLst>
          </p:cNvPr>
          <p:cNvSpPr txBox="1"/>
          <p:nvPr/>
        </p:nvSpPr>
        <p:spPr>
          <a:xfrm>
            <a:off x="3599145" y="4203868"/>
            <a:ext cx="2663271" cy="99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endParaRPr lang="nb-NO" sz="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570</a:t>
            </a:r>
            <a:endParaRPr lang="nb-NO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valifiserte søkere som har UiO som førstevalg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945010-45A7-528F-4B31-286094C04FD6}"/>
              </a:ext>
            </a:extLst>
          </p:cNvPr>
          <p:cNvSpPr txBox="1"/>
          <p:nvPr/>
        </p:nvSpPr>
        <p:spPr>
          <a:xfrm>
            <a:off x="6372472" y="1577295"/>
            <a:ext cx="2508684" cy="132696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>
              <a:lnSpc>
                <a:spcPct val="107000"/>
              </a:lnSpc>
            </a:pPr>
            <a:endParaRPr lang="nb-NO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øy tilfredshet med faglig innhold i studiene.</a:t>
            </a:r>
          </a:p>
          <a:p>
            <a:pPr lvl="0">
              <a:lnSpc>
                <a:spcPct val="107000"/>
              </a:lnSpc>
            </a:pPr>
            <a:endParaRPr lang="nb-NO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Studiebarometeret 2023)</a:t>
            </a:r>
            <a:endParaRPr lang="nb-NO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518866" y="3357498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/UiO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4798961" y="3362400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/UiO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04514168-98DB-3DCC-4F57-B206DFFA03BA}"/>
              </a:ext>
            </a:extLst>
          </p:cNvPr>
          <p:cNvSpPr txBox="1"/>
          <p:nvPr/>
        </p:nvSpPr>
        <p:spPr>
          <a:xfrm>
            <a:off x="1953043" y="5743008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Foto: Jarli &amp; Jordan/UiO</a:t>
            </a:r>
            <a:endParaRPr lang="en-GB" sz="800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670307" y="5746709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/UiO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0522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7D26C301-C617-EB71-5B30-8F08F9676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07691"/>
            <a:ext cx="11471910" cy="542658"/>
          </a:xfrm>
        </p:spPr>
        <p:txBody>
          <a:bodyPr anchor="b">
            <a:normAutofit/>
          </a:bodyPr>
          <a:lstStyle/>
          <a:p>
            <a:r>
              <a:rPr lang="nb-NO" dirty="0"/>
              <a:t>Circle U.</a:t>
            </a:r>
          </a:p>
        </p:txBody>
      </p:sp>
      <p:sp>
        <p:nvSpPr>
          <p:cNvPr id="4102" name="Subtitle 2">
            <a:extLst>
              <a:ext uri="{FF2B5EF4-FFF2-40B4-BE49-F238E27FC236}">
                <a16:creationId xmlns:a16="http://schemas.microsoft.com/office/drawing/2014/main" id="{1D339A47-E39C-BCFE-03A3-CE2D39D9825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871021"/>
            <a:ext cx="11471910" cy="49474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/>
              <a:t>Europeisk universitetsallianse bestående av 9 universite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/>
              <a:t>Vil legge til rette for at studenter og ansatte kan studere og samarbeide på tvers av landegrenser </a:t>
            </a:r>
          </a:p>
        </p:txBody>
      </p:sp>
      <p:pic>
        <p:nvPicPr>
          <p:cNvPr id="4098" name="Picture 2" descr="Nærbilde av to studenter som er på café utendørs i Paris.">
            <a:extLst>
              <a:ext uri="{FF2B5EF4-FFF2-40B4-BE49-F238E27FC236}">
                <a16:creationId xmlns:a16="http://schemas.microsoft.com/office/drawing/2014/main" id="{96B67745-DAD7-9C35-8870-1ACB6E703C5E}"/>
              </a:ext>
            </a:extLst>
          </p:cNvPr>
          <p:cNvPicPr>
            <a:picLocks noGrp="1" noChangeAspect="1" noChangeArrowheads="1"/>
          </p:cNvPicPr>
          <p:nvPr>
            <p:ph type="pic" sz="quarter" idx="2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 b="-3"/>
          <a:stretch/>
        </p:blipFill>
        <p:spPr bwMode="auto">
          <a:xfrm>
            <a:off x="360044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100" name="Picture 4" descr="Student med kaffekopp i hånda fotografert foran det skjeve tårnet i Pisa. ">
            <a:extLst>
              <a:ext uri="{FF2B5EF4-FFF2-40B4-BE49-F238E27FC236}">
                <a16:creationId xmlns:a16="http://schemas.microsoft.com/office/drawing/2014/main" id="{8C3B39DB-42AC-71A6-0DD4-328FE9F53EBF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 bwMode="auto">
          <a:xfrm>
            <a:off x="6220199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C9E16DF-8BC2-A7DA-F701-8878CD57E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058B1844-A910-8E06-CAB8-00824E9F11F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8760196"/>
              </p:ext>
            </p:extLst>
          </p:nvPr>
        </p:nvGraphicFramePr>
        <p:xfrm>
          <a:off x="2032002" y="5798228"/>
          <a:ext cx="8128000" cy="33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48990240" imgH="2044440" progId="">
                  <p:embed/>
                </p:oleObj>
              </mc:Choice>
              <mc:Fallback>
                <p:oleObj r:id="rId5" imgW="48990240" imgH="2044440" progId="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058B1844-A910-8E06-CAB8-00824E9F11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32002" y="5798228"/>
                        <a:ext cx="8128000" cy="33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02C1E58C-92EE-E554-29F0-81350E2EA66C}"/>
              </a:ext>
            </a:extLst>
          </p:cNvPr>
          <p:cNvSpPr txBox="1"/>
          <p:nvPr/>
        </p:nvSpPr>
        <p:spPr>
          <a:xfrm>
            <a:off x="5129908" y="5460687"/>
            <a:ext cx="8418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Circle U.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8175A92-6839-E74F-2B0D-DABE57CC0CD8}"/>
              </a:ext>
            </a:extLst>
          </p:cNvPr>
          <p:cNvSpPr txBox="1"/>
          <p:nvPr/>
        </p:nvSpPr>
        <p:spPr>
          <a:xfrm>
            <a:off x="10990057" y="5460687"/>
            <a:ext cx="8418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Foto: Circle U.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8093642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En eldre mann og en liten gutt står foran et stort hjerteformet skjelett på Naturhistorisk museum.">
            <a:extLst>
              <a:ext uri="{FF2B5EF4-FFF2-40B4-BE49-F238E27FC236}">
                <a16:creationId xmlns:a16="http://schemas.microsoft.com/office/drawing/2014/main" id="{D0106377-9956-16E2-DF8A-20249926DF4A}"/>
              </a:ext>
            </a:extLst>
          </p:cNvPr>
          <p:cNvPicPr>
            <a:picLocks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2742" y="3552198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Debattanter i Domus Bibliotheca med stort maler i bakgrunnen. ">
            <a:extLst>
              <a:ext uri="{FF2B5EF4-FFF2-40B4-BE49-F238E27FC236}">
                <a16:creationId xmlns:a16="http://schemas.microsoft.com/office/drawing/2014/main" id="{75EE3F86-AC81-CBD7-5F5C-DB96916653F3}"/>
              </a:ext>
            </a:extLst>
          </p:cNvPr>
          <p:cNvPicPr>
            <a:picLocks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1828" y="1179430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Utstilling i Klimahuset med en modell av isblokk, informasjonsplakat og planter i bakrgunnen.">
            <a:extLst>
              <a:ext uri="{FF2B5EF4-FFF2-40B4-BE49-F238E27FC236}">
                <a16:creationId xmlns:a16="http://schemas.microsoft.com/office/drawing/2014/main" id="{C71B9D9C-C901-02E6-ED94-69272FD64E9F}"/>
              </a:ext>
            </a:extLst>
          </p:cNvPr>
          <p:cNvPicPr>
            <a:picLocks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3014" y="1179474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id="{42C99C17-9738-96CB-814F-869680CB024B}"/>
              </a:ext>
            </a:extLst>
          </p:cNvPr>
          <p:cNvSpPr/>
          <p:nvPr/>
        </p:nvSpPr>
        <p:spPr>
          <a:xfrm>
            <a:off x="6091826" y="3554267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8B3E633B-18DC-B9C4-A8D5-038156BCCC75}"/>
              </a:ext>
            </a:extLst>
          </p:cNvPr>
          <p:cNvSpPr/>
          <p:nvPr/>
        </p:nvSpPr>
        <p:spPr>
          <a:xfrm>
            <a:off x="374110" y="3553374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6C71914A-EBF5-1C1F-9B8E-28E0A1636024}"/>
              </a:ext>
            </a:extLst>
          </p:cNvPr>
          <p:cNvSpPr/>
          <p:nvPr/>
        </p:nvSpPr>
        <p:spPr>
          <a:xfrm>
            <a:off x="3230576" y="1179430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FFE03C4A-A8F5-9BAA-24AF-BF3FA31011A6}"/>
              </a:ext>
            </a:extLst>
          </p:cNvPr>
          <p:cNvSpPr/>
          <p:nvPr/>
        </p:nvSpPr>
        <p:spPr>
          <a:xfrm>
            <a:off x="8947458" y="1179430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0A77013-0A47-87A0-F4DF-C5766C38D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unnskap i bruk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51A1C9E-28F8-7A6B-FDEF-B8926A082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FBFFAB3-5362-DEC8-389D-8E21F9AC702E}"/>
              </a:ext>
            </a:extLst>
          </p:cNvPr>
          <p:cNvSpPr txBox="1"/>
          <p:nvPr/>
        </p:nvSpPr>
        <p:spPr>
          <a:xfrm>
            <a:off x="3429811" y="2901353"/>
            <a:ext cx="2422630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limahuset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2ED2194-84C5-2605-FADB-0012C4B874CA}"/>
              </a:ext>
            </a:extLst>
          </p:cNvPr>
          <p:cNvSpPr txBox="1"/>
          <p:nvPr/>
        </p:nvSpPr>
        <p:spPr>
          <a:xfrm>
            <a:off x="9156364" y="2922679"/>
            <a:ext cx="2653093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mus Bibliotheca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8FC1847-2089-F6E3-B84E-9F9C7714959A}"/>
              </a:ext>
            </a:extLst>
          </p:cNvPr>
          <p:cNvSpPr txBox="1"/>
          <p:nvPr/>
        </p:nvSpPr>
        <p:spPr>
          <a:xfrm>
            <a:off x="6268072" y="4657541"/>
            <a:ext cx="2422630" cy="1056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rges offentlige utredninger </a:t>
            </a:r>
            <a:b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NOU-er)</a:t>
            </a:r>
          </a:p>
        </p:txBody>
      </p:sp>
      <p:sp>
        <p:nvSpPr>
          <p:cNvPr id="11" name="TekstSylinder 20">
            <a:extLst>
              <a:ext uri="{FF2B5EF4-FFF2-40B4-BE49-F238E27FC236}">
                <a16:creationId xmlns:a16="http://schemas.microsoft.com/office/drawing/2014/main" id="{F8630830-65C0-A9A0-3E97-6C4146EA1F6D}"/>
              </a:ext>
            </a:extLst>
          </p:cNvPr>
          <p:cNvSpPr txBox="1"/>
          <p:nvPr/>
        </p:nvSpPr>
        <p:spPr>
          <a:xfrm>
            <a:off x="593021" y="3998899"/>
            <a:ext cx="2422630" cy="17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turhistorisk museum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ulturhistorisk museu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3F9011A-F048-6EB4-304C-565BC1E8E94A}"/>
              </a:ext>
            </a:extLst>
          </p:cNvPr>
          <p:cNvSpPr txBox="1"/>
          <p:nvPr/>
        </p:nvSpPr>
        <p:spPr>
          <a:xfrm>
            <a:off x="1856482" y="3323130"/>
            <a:ext cx="13740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/NHM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8524E002-A0DB-4577-99D8-5E24A28490B4}"/>
              </a:ext>
            </a:extLst>
          </p:cNvPr>
          <p:cNvSpPr txBox="1"/>
          <p:nvPr/>
        </p:nvSpPr>
        <p:spPr>
          <a:xfrm>
            <a:off x="4408514" y="5715216"/>
            <a:ext cx="16866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Lars Petter Pettersen/NHM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0CBB4CCF-5220-FABF-A537-35041825449C}"/>
              </a:ext>
            </a:extLst>
          </p:cNvPr>
          <p:cNvSpPr txBox="1"/>
          <p:nvPr/>
        </p:nvSpPr>
        <p:spPr>
          <a:xfrm>
            <a:off x="7608413" y="3339083"/>
            <a:ext cx="13340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Malin A. Gylvik/UiO</a:t>
            </a:r>
            <a:endParaRPr lang="en-GB" sz="800" dirty="0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BA3BF43A-94ED-018F-1CE1-3B7F8337D5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39517" y="3559030"/>
            <a:ext cx="2867025" cy="238125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E540924-117D-2D85-9104-E7B6BF3E75C0}"/>
              </a:ext>
            </a:extLst>
          </p:cNvPr>
          <p:cNvSpPr txBox="1"/>
          <p:nvPr/>
        </p:nvSpPr>
        <p:spPr>
          <a:xfrm>
            <a:off x="10247725" y="5716800"/>
            <a:ext cx="15504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latin typeface="Arial"/>
              </a:rPr>
              <a:t>Foto: 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nders Furuset/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trafi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5486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Lærer foran tavle i samtale med to VGS-elever">
            <a:extLst>
              <a:ext uri="{FF2B5EF4-FFF2-40B4-BE49-F238E27FC236}">
                <a16:creationId xmlns:a16="http://schemas.microsoft.com/office/drawing/2014/main" id="{D0106377-9956-16E2-DF8A-20249926DF4A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4562" y="3554408"/>
            <a:ext cx="2862000" cy="237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Forsker ute i felt ved fjorden med en stor hummer på skulderen.">
            <a:extLst>
              <a:ext uri="{FF2B5EF4-FFF2-40B4-BE49-F238E27FC236}">
                <a16:creationId xmlns:a16="http://schemas.microsoft.com/office/drawing/2014/main" id="{75EE3F86-AC81-CBD7-5F5C-DB96916653F3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2632" y="1177049"/>
            <a:ext cx="2860388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Forsker i hvit labfrakk i medisinsk laboratorium">
            <a:extLst>
              <a:ext uri="{FF2B5EF4-FFF2-40B4-BE49-F238E27FC236}">
                <a16:creationId xmlns:a16="http://schemas.microsoft.com/office/drawing/2014/main" id="{C71B9D9C-C901-02E6-ED94-69272FD64E9F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3336" y="1180317"/>
            <a:ext cx="2862000" cy="2375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id="{42C99C17-9738-96CB-814F-869680CB024B}"/>
              </a:ext>
            </a:extLst>
          </p:cNvPr>
          <p:cNvSpPr/>
          <p:nvPr/>
        </p:nvSpPr>
        <p:spPr>
          <a:xfrm>
            <a:off x="6091826" y="3554267"/>
            <a:ext cx="2862000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8B3E633B-18DC-B9C4-A8D5-038156BCCC75}"/>
              </a:ext>
            </a:extLst>
          </p:cNvPr>
          <p:cNvSpPr/>
          <p:nvPr/>
        </p:nvSpPr>
        <p:spPr>
          <a:xfrm>
            <a:off x="374110" y="3553374"/>
            <a:ext cx="2862000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6C71914A-EBF5-1C1F-9B8E-28E0A1636024}"/>
              </a:ext>
            </a:extLst>
          </p:cNvPr>
          <p:cNvSpPr/>
          <p:nvPr/>
        </p:nvSpPr>
        <p:spPr>
          <a:xfrm>
            <a:off x="3230576" y="1179430"/>
            <a:ext cx="2861251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FFE03C4A-A8F5-9BAA-24AF-BF3FA31011A6}"/>
              </a:ext>
            </a:extLst>
          </p:cNvPr>
          <p:cNvSpPr/>
          <p:nvPr/>
        </p:nvSpPr>
        <p:spPr>
          <a:xfrm>
            <a:off x="8947458" y="1179430"/>
            <a:ext cx="2862000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0A77013-0A47-87A0-F4DF-C5766C38D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ra grunnforskning til innovasjon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51A1C9E-28F8-7A6B-FDEF-B8926A082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FBFFAB3-5362-DEC8-389D-8E21F9AC702E}"/>
              </a:ext>
            </a:extLst>
          </p:cNvPr>
          <p:cNvSpPr txBox="1"/>
          <p:nvPr/>
        </p:nvSpPr>
        <p:spPr>
          <a:xfrm>
            <a:off x="3450459" y="2247049"/>
            <a:ext cx="2422630" cy="1056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gemidler og</a:t>
            </a:r>
            <a:b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handlings-metod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2ED2194-84C5-2605-FADB-0012C4B874CA}"/>
              </a:ext>
            </a:extLst>
          </p:cNvPr>
          <p:cNvSpPr txBox="1"/>
          <p:nvPr/>
        </p:nvSpPr>
        <p:spPr>
          <a:xfrm>
            <a:off x="9165893" y="2925392"/>
            <a:ext cx="2653093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ye lover og regler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8FC1847-2089-F6E3-B84E-9F9C7714959A}"/>
              </a:ext>
            </a:extLst>
          </p:cNvPr>
          <p:cNvSpPr txBox="1"/>
          <p:nvPr/>
        </p:nvSpPr>
        <p:spPr>
          <a:xfrm>
            <a:off x="6296428" y="5280832"/>
            <a:ext cx="2422630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ateknologi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3F9011A-F048-6EB4-304C-565BC1E8E94A}"/>
              </a:ext>
            </a:extLst>
          </p:cNvPr>
          <p:cNvSpPr txBox="1"/>
          <p:nvPr/>
        </p:nvSpPr>
        <p:spPr>
          <a:xfrm>
            <a:off x="2436397" y="3341772"/>
            <a:ext cx="7986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ykod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8524E002-A0DB-4577-99D8-5E24A28490B4}"/>
              </a:ext>
            </a:extLst>
          </p:cNvPr>
          <p:cNvSpPr txBox="1"/>
          <p:nvPr/>
        </p:nvSpPr>
        <p:spPr>
          <a:xfrm>
            <a:off x="4778926" y="5713979"/>
            <a:ext cx="130195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NTB/Thomas Bru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0CBB4CCF-5220-FABF-A537-35041825449C}"/>
              </a:ext>
            </a:extLst>
          </p:cNvPr>
          <p:cNvSpPr txBox="1"/>
          <p:nvPr/>
        </p:nvSpPr>
        <p:spPr>
          <a:xfrm>
            <a:off x="6703224" y="3346793"/>
            <a:ext cx="22413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Kim Halvorsen, Havforskningsinstituttet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Bilde 5" descr="Utsnitt av en databrikke">
            <a:extLst>
              <a:ext uri="{FF2B5EF4-FFF2-40B4-BE49-F238E27FC236}">
                <a16:creationId xmlns:a16="http://schemas.microsoft.com/office/drawing/2014/main" id="{BA3BF43A-94ED-018F-1CE1-3B7F8337D5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39517" y="3559030"/>
            <a:ext cx="2867025" cy="238125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E540924-117D-2D85-9104-E7B6BF3E75C0}"/>
              </a:ext>
            </a:extLst>
          </p:cNvPr>
          <p:cNvSpPr txBox="1"/>
          <p:nvPr/>
        </p:nvSpPr>
        <p:spPr>
          <a:xfrm>
            <a:off x="10879308" y="5713979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urbox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kstSylinder 20">
            <a:extLst>
              <a:ext uri="{FF2B5EF4-FFF2-40B4-BE49-F238E27FC236}">
                <a16:creationId xmlns:a16="http://schemas.microsoft.com/office/drawing/2014/main" id="{0A349716-5F43-9FD8-C6F6-DA2AA14EA427}"/>
              </a:ext>
            </a:extLst>
          </p:cNvPr>
          <p:cNvSpPr txBox="1"/>
          <p:nvPr/>
        </p:nvSpPr>
        <p:spPr>
          <a:xfrm>
            <a:off x="593021" y="5281200"/>
            <a:ext cx="2422630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dervisning</a:t>
            </a:r>
          </a:p>
        </p:txBody>
      </p:sp>
    </p:spTree>
    <p:extLst>
      <p:ext uri="{BB962C8B-B14F-4D97-AF65-F5344CB8AC3E}">
        <p14:creationId xmlns:p14="http://schemas.microsoft.com/office/powerpoint/2010/main" val="31535114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2" name="Picture 8" descr="En gruppe forskere har møte foran en grønn, mosekledt vegg. ">
            <a:extLst>
              <a:ext uri="{FF2B5EF4-FFF2-40B4-BE49-F238E27FC236}">
                <a16:creationId xmlns:a16="http://schemas.microsoft.com/office/drawing/2014/main" id="{FB58B123-97CF-AD02-0DAA-24AB86D8638E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43666" y="1206800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Nærbilde av hånd som rører i turkis væske med et molekylsett ved siden av.">
            <a:extLst>
              <a:ext uri="{FF2B5EF4-FFF2-40B4-BE49-F238E27FC236}">
                <a16:creationId xmlns:a16="http://schemas.microsoft.com/office/drawing/2014/main" id="{D791E20D-7A50-75AA-9EF1-7090405EDC9B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1767" y="3586400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Publikumsarrangement med mange tilhørere i salen og foredragsholder på scene i grønt lys.">
            <a:extLst>
              <a:ext uri="{FF2B5EF4-FFF2-40B4-BE49-F238E27FC236}">
                <a16:creationId xmlns:a16="http://schemas.microsoft.com/office/drawing/2014/main" id="{2B3F26C5-6142-2776-60A1-B9416B29BA1B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29092" y="1206800"/>
            <a:ext cx="2862000" cy="2379600"/>
          </a:xfrm>
          <a:prstGeom prst="rect">
            <a:avLst/>
          </a:prstGeom>
        </p:spPr>
      </p:pic>
      <p:pic>
        <p:nvPicPr>
          <p:cNvPr id="6150" name="Picture 6" descr="En gruppe studenter veiledes av en ansatt ved et rødt bord.">
            <a:extLst>
              <a:ext uri="{FF2B5EF4-FFF2-40B4-BE49-F238E27FC236}">
                <a16:creationId xmlns:a16="http://schemas.microsoft.com/office/drawing/2014/main" id="{5335DDB1-5DCD-36C6-DBD8-2EE6AAD98258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6834" y="3586400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ktangel 14">
            <a:extLst>
              <a:ext uri="{FF2B5EF4-FFF2-40B4-BE49-F238E27FC236}">
                <a16:creationId xmlns:a16="http://schemas.microsoft.com/office/drawing/2014/main" id="{1986AF8C-AD2B-2A37-55D3-ED5855EB40E0}"/>
              </a:ext>
            </a:extLst>
          </p:cNvPr>
          <p:cNvSpPr/>
          <p:nvPr/>
        </p:nvSpPr>
        <p:spPr>
          <a:xfrm>
            <a:off x="6089850" y="1206800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B97228FB-9E55-A2ED-5A5C-89C74B4E340F}"/>
              </a:ext>
            </a:extLst>
          </p:cNvPr>
          <p:cNvSpPr/>
          <p:nvPr/>
        </p:nvSpPr>
        <p:spPr>
          <a:xfrm>
            <a:off x="371767" y="1206800"/>
            <a:ext cx="2875989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064A29B1-3E3C-A9F7-EDB0-A811BB4FF797}"/>
              </a:ext>
            </a:extLst>
          </p:cNvPr>
          <p:cNvSpPr/>
          <p:nvPr/>
        </p:nvSpPr>
        <p:spPr>
          <a:xfrm>
            <a:off x="3230264" y="3586400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AF59C412-CB19-1C42-19AD-223F7CB39595}"/>
              </a:ext>
            </a:extLst>
          </p:cNvPr>
          <p:cNvSpPr/>
          <p:nvPr/>
        </p:nvSpPr>
        <p:spPr>
          <a:xfrm>
            <a:off x="8947458" y="3586400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skningsparken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3443962" y="4976484"/>
            <a:ext cx="2508684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uplab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Lab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2335B98-C402-B84C-5BDA-B8C3086EEDB2}"/>
              </a:ext>
            </a:extLst>
          </p:cNvPr>
          <p:cNvSpPr txBox="1"/>
          <p:nvPr/>
        </p:nvSpPr>
        <p:spPr>
          <a:xfrm>
            <a:off x="598445" y="1741065"/>
            <a:ext cx="2625189" cy="163121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n2 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lo Tech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ksthuset for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000" dirty="0">
                <a:solidFill>
                  <a:prstClr val="white"/>
                </a:solidFill>
                <a:latin typeface="Arial"/>
              </a:rPr>
              <a:t>verdiskapning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921A10EF-3E0D-AE54-646C-AA9A993E64E7}"/>
              </a:ext>
            </a:extLst>
          </p:cNvPr>
          <p:cNvSpPr txBox="1"/>
          <p:nvPr/>
        </p:nvSpPr>
        <p:spPr>
          <a:xfrm>
            <a:off x="9163351" y="5284260"/>
            <a:ext cx="24226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entinnovasjon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945010-45A7-528F-4B31-286094C04FD6}"/>
              </a:ext>
            </a:extLst>
          </p:cNvPr>
          <p:cNvSpPr txBox="1"/>
          <p:nvPr/>
        </p:nvSpPr>
        <p:spPr>
          <a:xfrm>
            <a:off x="6230349" y="2356618"/>
            <a:ext cx="2723768" cy="101566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RK Livsvitenskap og SPARK</a:t>
            </a:r>
            <a:b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funnsinnovasjon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BF288298-0472-89DA-C437-A1ED733088C0}"/>
              </a:ext>
            </a:extLst>
          </p:cNvPr>
          <p:cNvSpPr txBox="1"/>
          <p:nvPr/>
        </p:nvSpPr>
        <p:spPr>
          <a:xfrm>
            <a:off x="5125399" y="3372281"/>
            <a:ext cx="9605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Veksthuset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D562CE0E-8107-0A9E-5631-BC647BCAE67E}"/>
              </a:ext>
            </a:extLst>
          </p:cNvPr>
          <p:cNvSpPr txBox="1"/>
          <p:nvPr/>
        </p:nvSpPr>
        <p:spPr>
          <a:xfrm>
            <a:off x="10522862" y="3372281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/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1950E709-7212-6523-E451-DFCC8E7F131E}"/>
              </a:ext>
            </a:extLst>
          </p:cNvPr>
          <p:cNvSpPr txBox="1"/>
          <p:nvPr/>
        </p:nvSpPr>
        <p:spPr>
          <a:xfrm>
            <a:off x="1945676" y="5750556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/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A7F076A5-46D5-BAE9-31C8-FBFC2E7936E6}"/>
              </a:ext>
            </a:extLst>
          </p:cNvPr>
          <p:cNvSpPr txBox="1"/>
          <p:nvPr/>
        </p:nvSpPr>
        <p:spPr>
          <a:xfrm>
            <a:off x="7666775" y="5750556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/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91278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rkitektskisse av hele området som skal bli Oslo Science City">
            <a:extLst>
              <a:ext uri="{FF2B5EF4-FFF2-40B4-BE49-F238E27FC236}">
                <a16:creationId xmlns:a16="http://schemas.microsoft.com/office/drawing/2014/main" id="{96B67745-DAD7-9C35-8870-1ACB6E703C5E}"/>
              </a:ext>
            </a:extLst>
          </p:cNvPr>
          <p:cNvPicPr>
            <a:picLocks noGrp="1" noChangeAspect="1" noChangeArrowheads="1"/>
          </p:cNvPicPr>
          <p:nvPr>
            <p:ph type="pic" sz="quarter" idx="2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C9E16DF-8BC2-A7DA-F701-8878CD57E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7D26C301-C617-EB71-5B30-8F08F9676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novasjonsdistrikt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D5777B75-200F-5551-A525-5A8E1D70652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220953"/>
            <a:ext cx="5611759" cy="494749"/>
          </a:xfrm>
        </p:spPr>
        <p:txBody>
          <a:bodyPr/>
          <a:lstStyle/>
          <a:p>
            <a:r>
              <a:rPr lang="nb-NO" sz="2000" dirty="0"/>
              <a:t>Oslo Science City</a:t>
            </a:r>
          </a:p>
        </p:txBody>
      </p:sp>
      <p:sp>
        <p:nvSpPr>
          <p:cNvPr id="10" name="Undertittel 4">
            <a:extLst>
              <a:ext uri="{FF2B5EF4-FFF2-40B4-BE49-F238E27FC236}">
                <a16:creationId xmlns:a16="http://schemas.microsoft.com/office/drawing/2014/main" id="{A389697D-A48C-5661-17FD-3494D9CD6EAA}"/>
              </a:ext>
            </a:extLst>
          </p:cNvPr>
          <p:cNvSpPr txBox="1">
            <a:spLocks/>
          </p:cNvSpPr>
          <p:nvPr/>
        </p:nvSpPr>
        <p:spPr>
          <a:xfrm>
            <a:off x="6212204" y="1220953"/>
            <a:ext cx="5611759" cy="4947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000" dirty="0"/>
              <a:t>Livsvitenskapsbygget</a:t>
            </a:r>
          </a:p>
        </p:txBody>
      </p:sp>
      <p:pic>
        <p:nvPicPr>
          <p:cNvPr id="4100" name="Picture 4" descr="Arkitektskisse av fasaden til Livsvitenskapsbygget med en bekk og vegetasjon i forkant.">
            <a:extLst>
              <a:ext uri="{FF2B5EF4-FFF2-40B4-BE49-F238E27FC236}">
                <a16:creationId xmlns:a16="http://schemas.microsoft.com/office/drawing/2014/main" id="{8C3B39DB-42AC-71A6-0DD4-328FE9F53EBF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21044" y="1757497"/>
            <a:ext cx="5610068" cy="3920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31DBE1E9-27B3-2447-A214-232B5416A489}"/>
              </a:ext>
            </a:extLst>
          </p:cNvPr>
          <p:cNvSpPr txBox="1"/>
          <p:nvPr/>
        </p:nvSpPr>
        <p:spPr>
          <a:xfrm>
            <a:off x="4720294" y="5452327"/>
            <a:ext cx="125066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Illustrasjon: Playtie/BIG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142B2EAB-82A1-6863-FA66-FCCDF1A0F4BD}"/>
              </a:ext>
            </a:extLst>
          </p:cNvPr>
          <p:cNvSpPr txBox="1"/>
          <p:nvPr/>
        </p:nvSpPr>
        <p:spPr>
          <a:xfrm>
            <a:off x="10176492" y="5452327"/>
            <a:ext cx="16546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Illustrasjon: Ratio Arkitekter/MIR</a:t>
            </a:r>
          </a:p>
        </p:txBody>
      </p:sp>
    </p:spTree>
    <p:extLst>
      <p:ext uri="{BB962C8B-B14F-4D97-AF65-F5344CB8AC3E}">
        <p14:creationId xmlns:p14="http://schemas.microsoft.com/office/powerpoint/2010/main" val="1025574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5530011" cy="1550358"/>
          </a:xfrm>
        </p:spPr>
        <p:txBody>
          <a:bodyPr/>
          <a:lstStyle/>
          <a:p>
            <a:r>
              <a:rPr lang="en-GB" dirty="0"/>
              <a:t>The Guild of European Research-Intensive Universities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4265" y="2055600"/>
            <a:ext cx="4955520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22 forskningsintensive breddeuniversiteter fra 16 europeiske land</a:t>
            </a:r>
          </a:p>
          <a:p>
            <a:pPr marL="285750" indent="-285750">
              <a:buFont typeface="Wingdings" pitchFamily="2" charset="2"/>
              <a:buChar char="§"/>
            </a:pP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Jobber med forsknings- og utdanningspolitikk samt påvirkning av EUs programmer </a:t>
            </a:r>
          </a:p>
          <a:p>
            <a:endParaRPr lang="en-GB" sz="1800" dirty="0"/>
          </a:p>
        </p:txBody>
      </p:sp>
      <p:pic>
        <p:nvPicPr>
          <p:cNvPr id="5" name="Bilde 4" descr="EU-flagg foran Berlaymont-bygningen, hovedkvarteret til Europakommisjonen.">
            <a:extLst>
              <a:ext uri="{FF2B5EF4-FFF2-40B4-BE49-F238E27FC236}">
                <a16:creationId xmlns:a16="http://schemas.microsoft.com/office/drawing/2014/main" id="{8A94FA72-90E8-7F7F-7424-C2EB7F5680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946" y="0"/>
            <a:ext cx="5890054" cy="6873761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D75B9C6-9237-23EA-A443-A0A2DD25C414}"/>
              </a:ext>
            </a:extLst>
          </p:cNvPr>
          <p:cNvSpPr txBox="1"/>
          <p:nvPr/>
        </p:nvSpPr>
        <p:spPr>
          <a:xfrm>
            <a:off x="10389904" y="6642556"/>
            <a:ext cx="18020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imageBROKER/Wilfried Wirth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1048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 descr="En stor gruppe pent kledte forskere samlet utendørs.">
            <a:extLst>
              <a:ext uri="{FF2B5EF4-FFF2-40B4-BE49-F238E27FC236}">
                <a16:creationId xmlns:a16="http://schemas.microsoft.com/office/drawing/2014/main" id="{8ABC63D9-E5AB-6577-44D1-EAED35E2B93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9871" y="0"/>
            <a:ext cx="5982129" cy="6858000"/>
          </a:xfrm>
          <a:prstGeom prst="rect">
            <a:avLst/>
          </a:prstGeom>
          <a:noFill/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3D8C0782-E76A-31BA-FDA9-5B29AC72595F}"/>
              </a:ext>
            </a:extLst>
          </p:cNvPr>
          <p:cNvSpPr txBox="1"/>
          <p:nvPr/>
        </p:nvSpPr>
        <p:spPr>
          <a:xfrm>
            <a:off x="360609" y="360000"/>
            <a:ext cx="14670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500" dirty="0"/>
              <a:t>ARUA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55700204-6974-9399-414B-1D04A712BCF3}"/>
              </a:ext>
            </a:extLst>
          </p:cNvPr>
          <p:cNvSpPr txBox="1"/>
          <p:nvPr/>
        </p:nvSpPr>
        <p:spPr>
          <a:xfrm>
            <a:off x="327600" y="1083600"/>
            <a:ext cx="441665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>
                <a:solidFill>
                  <a:schemeClr val="accent6"/>
                </a:solidFill>
              </a:rPr>
              <a:t>African</a:t>
            </a:r>
            <a:r>
              <a:rPr lang="en-GB" sz="1800" dirty="0">
                <a:solidFill>
                  <a:schemeClr val="accent6"/>
                </a:solidFill>
              </a:rPr>
              <a:t> </a:t>
            </a:r>
            <a:r>
              <a:rPr lang="en-GB" sz="2000" dirty="0">
                <a:solidFill>
                  <a:schemeClr val="accent6"/>
                </a:solidFill>
              </a:rPr>
              <a:t>Research-Universities</a:t>
            </a:r>
            <a:r>
              <a:rPr lang="en-GB" sz="1800" dirty="0">
                <a:solidFill>
                  <a:schemeClr val="accent6"/>
                </a:solidFill>
              </a:rPr>
              <a:t> Alliance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068D8D5F-D020-8A83-364D-9E7509D6ACE5}"/>
              </a:ext>
            </a:extLst>
          </p:cNvPr>
          <p:cNvSpPr txBox="1"/>
          <p:nvPr/>
        </p:nvSpPr>
        <p:spPr>
          <a:xfrm>
            <a:off x="360610" y="2055600"/>
            <a:ext cx="4760030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>
                <a:ln>
                  <a:noFill/>
                </a:ln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ea typeface="Arial Unicode MS"/>
                <a:cs typeface="Arial Unicode MS"/>
              </a:rPr>
              <a:t>En styrking av afrikanske universiteter innen forskning, innovasjon og høyere utdan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ea typeface="Arial Unicode MS"/>
              <a:cs typeface="Arial Unicode M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Tett samarbeid med The Guild, inkludert 20 klynger for fremragende forskning</a:t>
            </a:r>
            <a:endParaRPr lang="nb-NO" sz="2000" dirty="0">
              <a:ln>
                <a:noFill/>
              </a:ln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ea typeface="Arial Unicode MS"/>
              <a:cs typeface="Arial Unicode M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>
              <a:ea typeface="Arial Unicode M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>
                <a:ea typeface="Arial Unicode MS"/>
              </a:rPr>
              <a:t>Fra utviklingsbistand til kapasitetsbygging og likeverdige partnerskap </a:t>
            </a:r>
            <a:endParaRPr lang="nb-NO" sz="2000" dirty="0">
              <a:effectLst/>
              <a:ea typeface="Arial Unicode M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 dirty="0">
              <a:ea typeface="Arial Unicode M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 dirty="0">
              <a:effectLst/>
              <a:ea typeface="Arial Unicode MS"/>
            </a:endParaRPr>
          </a:p>
          <a:p>
            <a:endParaRPr lang="nb-NO" sz="1800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0867980-153A-6B3C-1835-C7FEE49CCCF9}"/>
              </a:ext>
            </a:extLst>
          </p:cNvPr>
          <p:cNvSpPr txBox="1"/>
          <p:nvPr/>
        </p:nvSpPr>
        <p:spPr>
          <a:xfrm>
            <a:off x="10620736" y="6642556"/>
            <a:ext cx="1571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University of Cape Town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9708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E31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52380779-6FA2-82F7-0C0C-586144DA38F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2C28F36D-534B-1B9E-530B-7105862B619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800" y="1430383"/>
            <a:ext cx="7772400" cy="3997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484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4190075"/>
            <a:ext cx="36899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/>
              <a:t>Utdanning, forskning, </a:t>
            </a:r>
            <a:br>
              <a:rPr lang="nb-NO" sz="2400" dirty="0"/>
            </a:br>
            <a:r>
              <a:rPr lang="nb-NO" sz="2400" dirty="0"/>
              <a:t>formidling og innovasjon</a:t>
            </a:r>
          </a:p>
          <a:p>
            <a:r>
              <a:rPr lang="nb-NO" sz="2400" dirty="0"/>
              <a:t>siden 1811</a:t>
            </a:r>
          </a:p>
          <a:p>
            <a:endParaRPr lang="nb-NO" sz="2400" dirty="0"/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2235878"/>
            <a:ext cx="5295252" cy="1796624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Norges eldste institusjon for forskning og høyere utdanning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805D72E-A6F8-36C0-582F-E62D5AA0C64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  <p:pic>
        <p:nvPicPr>
          <p:cNvPr id="1026" name="Picture 2" descr="Inngangspartiet på Universitetets aula med blomster i forgrunnen.">
            <a:extLst>
              <a:ext uri="{FF2B5EF4-FFF2-40B4-BE49-F238E27FC236}">
                <a16:creationId xmlns:a16="http://schemas.microsoft.com/office/drawing/2014/main" id="{F26450BA-FF08-E4FB-9189-33FCBC95DFBF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6211493" y="0"/>
            <a:ext cx="59739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131821" y="6630947"/>
            <a:ext cx="20601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Foto: </a:t>
            </a:r>
            <a:r>
              <a:rPr lang="en-GB" b="0" i="0" dirty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 dirty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 dirty="0">
                <a:solidFill>
                  <a:schemeClr val="bg1"/>
                </a:solidFill>
                <a:effectLst/>
              </a:rPr>
              <a:t> Byrknes/UiO</a:t>
            </a:r>
            <a:endParaRPr lang="en-GB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965089151"/>
                  </p:ext>
                </p:extLst>
              </p:nvPr>
            </p:nvGraphicFramePr>
            <p:xfrm>
              <a:off x="-3231042" y="5927965"/>
              <a:ext cx="3048000" cy="1714500"/>
            </p:xfrm>
            <a:graphic>
              <a:graphicData uri="http://schemas.microsoft.com/office/powerpoint/2016/slidezoom">
                <pslz:sldZm>
                  <pslz:sldZmObj sldId="282" cId="1554550418">
                    <pslz:zmPr id="{A3AC6C60-AFD7-4C67-AF43-8FD912FDA3E0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3231042" y="5927965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5545504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e 17" descr="Illustrasjon fra det nye Vikingtidsmuseet med et belyst vikingskip i midten">
            <a:extLst>
              <a:ext uri="{FF2B5EF4-FFF2-40B4-BE49-F238E27FC236}">
                <a16:creationId xmlns:a16="http://schemas.microsoft.com/office/drawing/2014/main" id="{E7929762-6715-9807-DCC6-DF94D02D9BC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110" y="1180946"/>
            <a:ext cx="2862000" cy="2378808"/>
          </a:xfrm>
          <a:prstGeom prst="rect">
            <a:avLst/>
          </a:prstGeom>
          <a:ln>
            <a:noFill/>
          </a:ln>
        </p:spPr>
      </p:pic>
      <p:pic>
        <p:nvPicPr>
          <p:cNvPr id="3082" name="Picture 10" descr="Interør fra Fysikkbygningen på Blindern med Focaults pendel fra taket og fargerik freske på veggen.">
            <a:extLst>
              <a:ext uri="{FF2B5EF4-FFF2-40B4-BE49-F238E27FC236}">
                <a16:creationId xmlns:a16="http://schemas.microsoft.com/office/drawing/2014/main" id="{5BD73227-87A6-38B7-B7B0-C2F75CC48150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9850" y="1180946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Tre forskere studerer gamelt manuskript i glassmonter.">
            <a:extLst>
              <a:ext uri="{FF2B5EF4-FFF2-40B4-BE49-F238E27FC236}">
                <a16:creationId xmlns:a16="http://schemas.microsoft.com/office/drawing/2014/main" id="{A969712B-967F-42CC-4494-F2D39FE8BED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47457" y="3543848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C2F60CFF-7FC9-EB23-91F3-72164E3D0626}"/>
              </a:ext>
            </a:extLst>
          </p:cNvPr>
          <p:cNvSpPr/>
          <p:nvPr/>
        </p:nvSpPr>
        <p:spPr>
          <a:xfrm>
            <a:off x="608985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88362F-98CA-532B-7A23-8FEEB22E193C}"/>
              </a:ext>
            </a:extLst>
          </p:cNvPr>
          <p:cNvSpPr/>
          <p:nvPr/>
        </p:nvSpPr>
        <p:spPr>
          <a:xfrm>
            <a:off x="37411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0A77013-0A47-87A0-F4DF-C5766C38D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niversitetet i Oslo i dag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51A1C9E-28F8-7A6B-FDEF-B8926A082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CE4E104F-A083-F6D9-468E-DB1459E1F578}"/>
              </a:ext>
            </a:extLst>
          </p:cNvPr>
          <p:cNvSpPr/>
          <p:nvPr/>
        </p:nvSpPr>
        <p:spPr>
          <a:xfrm>
            <a:off x="3229774" y="1181854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A628F62-DA64-9532-C44D-EC0EE9D591F2}"/>
              </a:ext>
            </a:extLst>
          </p:cNvPr>
          <p:cNvSpPr/>
          <p:nvPr/>
        </p:nvSpPr>
        <p:spPr>
          <a:xfrm>
            <a:off x="8947457" y="1180946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56A22CA1-19ED-08F1-2EBE-429D2EC8966A}"/>
              </a:ext>
            </a:extLst>
          </p:cNvPr>
          <p:cNvSpPr txBox="1"/>
          <p:nvPr/>
        </p:nvSpPr>
        <p:spPr>
          <a:xfrm>
            <a:off x="3446556" y="2257773"/>
            <a:ext cx="2422630" cy="1056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 fakulteter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 museer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FBFFAB3-5362-DEC8-389D-8E21F9AC702E}"/>
              </a:ext>
            </a:extLst>
          </p:cNvPr>
          <p:cNvSpPr txBox="1"/>
          <p:nvPr/>
        </p:nvSpPr>
        <p:spPr>
          <a:xfrm>
            <a:off x="590327" y="4645916"/>
            <a:ext cx="2422630" cy="1056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200 ansatte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100 student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2ED2194-84C5-2605-FADB-0012C4B874CA}"/>
              </a:ext>
            </a:extLst>
          </p:cNvPr>
          <p:cNvSpPr txBox="1"/>
          <p:nvPr/>
        </p:nvSpPr>
        <p:spPr>
          <a:xfrm>
            <a:off x="9040027" y="1615411"/>
            <a:ext cx="2765563" cy="17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dens </a:t>
            </a: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3</a:t>
            </a: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beste forskningsuniversitet (Shanghai Ranking)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nobelprisvinnere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8FC1847-2089-F6E3-B84E-9F9C7714959A}"/>
              </a:ext>
            </a:extLst>
          </p:cNvPr>
          <p:cNvSpPr txBox="1"/>
          <p:nvPr/>
        </p:nvSpPr>
        <p:spPr>
          <a:xfrm>
            <a:off x="6306101" y="3671742"/>
            <a:ext cx="2539137" cy="2044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1 studieprogram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</a:t>
            </a: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remragende sentre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5 ERC-prosjekter</a:t>
            </a:r>
          </a:p>
        </p:txBody>
      </p:sp>
      <p:pic>
        <p:nvPicPr>
          <p:cNvPr id="17" name="Bilde 16" descr="Studenter sitter i rød sofa i fellesområdet på biblioteket i Georg Sverdups hus.">
            <a:extLst>
              <a:ext uri="{FF2B5EF4-FFF2-40B4-BE49-F238E27FC236}">
                <a16:creationId xmlns:a16="http://schemas.microsoft.com/office/drawing/2014/main" id="{BE400B73-5252-3426-3F23-A659ACD2CB5F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" t="2792"/>
          <a:stretch/>
        </p:blipFill>
        <p:spPr>
          <a:xfrm>
            <a:off x="3230263" y="3543848"/>
            <a:ext cx="2862000" cy="237960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410A0C82-7DEE-2975-0598-166B5C2BF621}"/>
              </a:ext>
            </a:extLst>
          </p:cNvPr>
          <p:cNvSpPr txBox="1"/>
          <p:nvPr/>
        </p:nvSpPr>
        <p:spPr>
          <a:xfrm>
            <a:off x="4815413" y="5707096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/UiO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D3B700A-AFA6-58B8-D20C-A4F2465A500C}"/>
              </a:ext>
            </a:extLst>
          </p:cNvPr>
          <p:cNvSpPr txBox="1"/>
          <p:nvPr/>
        </p:nvSpPr>
        <p:spPr>
          <a:xfrm>
            <a:off x="10407840" y="5693334"/>
            <a:ext cx="13917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/UiO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148B57ED-CD48-5661-DB5F-35AD93AA4BFE}"/>
              </a:ext>
            </a:extLst>
          </p:cNvPr>
          <p:cNvSpPr txBox="1"/>
          <p:nvPr/>
        </p:nvSpPr>
        <p:spPr>
          <a:xfrm>
            <a:off x="7661677" y="3328406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/UiO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0734659E-FBEE-81A3-94E6-786FB38983CC}"/>
              </a:ext>
            </a:extLst>
          </p:cNvPr>
          <p:cNvSpPr txBox="1"/>
          <p:nvPr/>
        </p:nvSpPr>
        <p:spPr>
          <a:xfrm>
            <a:off x="2026087" y="3325422"/>
            <a:ext cx="12041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AART Architects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44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Tre ansatte på takterrasse i Domus Juridica med utsikt mot Oslo rådhus ">
            <a:extLst>
              <a:ext uri="{FF2B5EF4-FFF2-40B4-BE49-F238E27FC236}">
                <a16:creationId xmlns:a16="http://schemas.microsoft.com/office/drawing/2014/main" id="{F58B79D7-8889-C084-05A9-504CEA74D8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" y="3570821"/>
            <a:ext cx="5721408" cy="2376000"/>
          </a:xfrm>
          <a:prstGeom prst="rect">
            <a:avLst/>
          </a:prstGeom>
        </p:spPr>
      </p:pic>
      <p:pic>
        <p:nvPicPr>
          <p:cNvPr id="6152" name="Picture 8" descr="En gruppe studenter står samlet på trapp ned til et vannspeil, med parkanlegg i bakgrunnen.">
            <a:extLst>
              <a:ext uri="{FF2B5EF4-FFF2-40B4-BE49-F238E27FC236}">
                <a16:creationId xmlns:a16="http://schemas.microsoft.com/office/drawing/2014/main" id="{894616F7-237E-45C6-9514-489462C48BCB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91200" y="3571200"/>
            <a:ext cx="5720400" cy="2377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Blomstrende tre foran utsnitt fra Botanisk hage med Oslo synlig i bakgrunnen.">
            <a:extLst>
              <a:ext uri="{FF2B5EF4-FFF2-40B4-BE49-F238E27FC236}">
                <a16:creationId xmlns:a16="http://schemas.microsoft.com/office/drawing/2014/main" id="{4C35AA79-E252-F62B-9DB8-330900A2EB3A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91200" y="1191175"/>
            <a:ext cx="5724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Tre studenter foran fasaden til Fysikkbygget på Blindern">
            <a:extLst>
              <a:ext uri="{FF2B5EF4-FFF2-40B4-BE49-F238E27FC236}">
                <a16:creationId xmlns:a16="http://schemas.microsoft.com/office/drawing/2014/main" id="{CB72BF4E-0BDA-419D-E1AB-EF6DFA0CB469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4400" y="1191600"/>
            <a:ext cx="5724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BC5EE8CE-C1C9-9936-C28B-3F268CA1E3C1}"/>
              </a:ext>
            </a:extLst>
          </p:cNvPr>
          <p:cNvSpPr/>
          <p:nvPr/>
        </p:nvSpPr>
        <p:spPr>
          <a:xfrm>
            <a:off x="6094800" y="5409463"/>
            <a:ext cx="2862000" cy="543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78C3770-5CE4-FFF7-3EE4-09B204297063}"/>
              </a:ext>
            </a:extLst>
          </p:cNvPr>
          <p:cNvSpPr/>
          <p:nvPr/>
        </p:nvSpPr>
        <p:spPr>
          <a:xfrm>
            <a:off x="374400" y="5410800"/>
            <a:ext cx="2862000" cy="543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D7D742CF-15A5-96CD-463A-91DDA4364F2D}"/>
              </a:ext>
            </a:extLst>
          </p:cNvPr>
          <p:cNvSpPr/>
          <p:nvPr/>
        </p:nvSpPr>
        <p:spPr>
          <a:xfrm>
            <a:off x="374400" y="3034577"/>
            <a:ext cx="2861251" cy="543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BF8A32CA-9EEC-A29F-9373-AB2DB5A09A4F}"/>
              </a:ext>
            </a:extLst>
          </p:cNvPr>
          <p:cNvSpPr/>
          <p:nvPr/>
        </p:nvSpPr>
        <p:spPr>
          <a:xfrm>
            <a:off x="6093330" y="3034800"/>
            <a:ext cx="2862000" cy="542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Campuser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594000" y="3096647"/>
            <a:ext cx="2422630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lindern</a:t>
            </a:r>
            <a:endParaRPr lang="nb-NO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2335B98-C402-B84C-5BDA-B8C3086EEDB2}"/>
              </a:ext>
            </a:extLst>
          </p:cNvPr>
          <p:cNvSpPr txBox="1"/>
          <p:nvPr/>
        </p:nvSpPr>
        <p:spPr>
          <a:xfrm>
            <a:off x="593710" y="5499165"/>
            <a:ext cx="2422630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ntrum 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F38FD66C-8F8F-B093-A527-683553BABC35}"/>
              </a:ext>
            </a:extLst>
          </p:cNvPr>
          <p:cNvSpPr txBox="1"/>
          <p:nvPr/>
        </p:nvSpPr>
        <p:spPr>
          <a:xfrm>
            <a:off x="6318000" y="3101020"/>
            <a:ext cx="2422630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øyen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0DFE4201-5DA0-3D05-2EC2-D2132C8613D7}"/>
              </a:ext>
            </a:extLst>
          </p:cNvPr>
          <p:cNvSpPr txBox="1"/>
          <p:nvPr/>
        </p:nvSpPr>
        <p:spPr>
          <a:xfrm>
            <a:off x="6318000" y="5500800"/>
            <a:ext cx="2872844" cy="39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skningsparken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1AD70E32-B9A9-B913-3ABB-85F1A8014EEC}"/>
              </a:ext>
            </a:extLst>
          </p:cNvPr>
          <p:cNvSpPr txBox="1"/>
          <p:nvPr/>
        </p:nvSpPr>
        <p:spPr>
          <a:xfrm>
            <a:off x="4818207" y="3345796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/UiO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32C8EE94-AB14-FD79-2769-02FC714B8550}"/>
              </a:ext>
            </a:extLst>
          </p:cNvPr>
          <p:cNvSpPr txBox="1"/>
          <p:nvPr/>
        </p:nvSpPr>
        <p:spPr>
          <a:xfrm>
            <a:off x="10860842" y="3345796"/>
            <a:ext cx="9460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Fara </a:t>
            </a:r>
            <a:r>
              <a:rPr lang="nb-NO" sz="800" dirty="0" err="1">
                <a:solidFill>
                  <a:schemeClr val="bg1"/>
                </a:solidFill>
              </a:rPr>
              <a:t>Mohri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4644572-032A-921B-28E1-D8E4C802225F}"/>
              </a:ext>
            </a:extLst>
          </p:cNvPr>
          <p:cNvSpPr txBox="1"/>
          <p:nvPr/>
        </p:nvSpPr>
        <p:spPr>
          <a:xfrm>
            <a:off x="4806874" y="5727363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/UiO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C8EEF587-B072-303F-0989-C6C1EEC856C5}"/>
              </a:ext>
            </a:extLst>
          </p:cNvPr>
          <p:cNvSpPr txBox="1"/>
          <p:nvPr/>
        </p:nvSpPr>
        <p:spPr>
          <a:xfrm>
            <a:off x="10530874" y="5715861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Foto: Jarli &amp; Jordan/UiO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105157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rategi 2030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62AD94B-8F70-E15C-B2CC-09B10F62C6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19EEF55-2818-FFA7-2314-DE837A9EC1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fld id="{0ED04C1F-6A31-C642-89E7-B59407722618}" type="datetime1">
              <a:rPr lang="nb-NO" smtClean="0"/>
              <a:t>27.03.2024</a:t>
            </a:fld>
            <a:endParaRPr lang="en-US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764B6EAF-73D4-02C8-53E0-B98170DD97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</p:spPr>
        <p:txBody>
          <a:bodyPr/>
          <a:lstStyle/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90713ABA-1D1E-DF23-7FAF-79A3321D1F17}"/>
              </a:ext>
            </a:extLst>
          </p:cNvPr>
          <p:cNvSpPr txBox="1"/>
          <p:nvPr/>
        </p:nvSpPr>
        <p:spPr>
          <a:xfrm>
            <a:off x="326165" y="1082726"/>
            <a:ext cx="52096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Våre ambisjoner</a:t>
            </a:r>
          </a:p>
          <a:p>
            <a:endParaRPr lang="nb-NO" sz="2400" dirty="0">
              <a:solidFill>
                <a:schemeClr val="accent6"/>
              </a:solidFill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26164" y="2053623"/>
            <a:ext cx="5302127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Fremme uavhengig, banebrytende og </a:t>
            </a:r>
            <a:br>
              <a:rPr lang="nb-NO" sz="2000" dirty="0"/>
            </a:br>
            <a:r>
              <a:rPr lang="nb-NO" sz="2000" dirty="0"/>
              <a:t>langsiktig forskning</a:t>
            </a:r>
            <a:br>
              <a:rPr lang="nb-NO" sz="2000" dirty="0"/>
            </a:b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Utdanne studenter med kunnskap, evne </a:t>
            </a:r>
            <a:br>
              <a:rPr lang="nb-NO" sz="2000" dirty="0"/>
            </a:br>
            <a:r>
              <a:rPr lang="nb-NO" sz="2000" dirty="0"/>
              <a:t>og vilje til å skape en bedre verden</a:t>
            </a:r>
            <a:br>
              <a:rPr lang="nb-NO" sz="2000" dirty="0"/>
            </a:b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Styrke dialogen med omverdenen og </a:t>
            </a:r>
            <a:br>
              <a:rPr lang="nb-NO" sz="2000" dirty="0"/>
            </a:br>
            <a:r>
              <a:rPr lang="nb-NO" sz="2000" dirty="0"/>
              <a:t>arbeide for at kunnskap tas i bruk</a:t>
            </a:r>
            <a:br>
              <a:rPr lang="nb-NO" sz="2000" dirty="0"/>
            </a:b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Være en nyskapende organisasjon </a:t>
            </a:r>
            <a:br>
              <a:rPr lang="nb-NO" sz="2000" dirty="0"/>
            </a:br>
            <a:r>
              <a:rPr lang="nb-NO" sz="2000" dirty="0"/>
              <a:t>og et attraktivt arbeids- og studiested</a:t>
            </a:r>
          </a:p>
          <a:p>
            <a:endParaRPr lang="nb-NO" sz="1800" dirty="0"/>
          </a:p>
          <a:p>
            <a:endParaRPr lang="nb-NO" sz="1800" dirty="0"/>
          </a:p>
          <a:p>
            <a:endParaRPr lang="nb-NO" sz="1800" dirty="0"/>
          </a:p>
        </p:txBody>
      </p:sp>
      <p:pic>
        <p:nvPicPr>
          <p:cNvPr id="18" name="Bilde 17" descr="Utsikt til Universitetsplassen fra veranda i Domus Media med et ornamentert rekkverk og fire store joniske søyler i front.">
            <a:extLst>
              <a:ext uri="{FF2B5EF4-FFF2-40B4-BE49-F238E27FC236}">
                <a16:creationId xmlns:a16="http://schemas.microsoft.com/office/drawing/2014/main" id="{9367EE8D-6038-89BE-8240-3175C284B9B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14197" y="0"/>
            <a:ext cx="5879002" cy="6857999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C3BA24BD-887E-1001-E4E1-22F47AABAA1A}"/>
              </a:ext>
            </a:extLst>
          </p:cNvPr>
          <p:cNvSpPr txBox="1"/>
          <p:nvPr/>
        </p:nvSpPr>
        <p:spPr>
          <a:xfrm>
            <a:off x="10800272" y="6627168"/>
            <a:ext cx="13917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en-GB" dirty="0">
                <a:solidFill>
                  <a:schemeClr val="bg1"/>
                </a:solidFill>
              </a:rPr>
              <a:t>Jarli &amp; Jordan/UiO</a:t>
            </a:r>
          </a:p>
        </p:txBody>
      </p:sp>
    </p:spTree>
    <p:extLst>
      <p:ext uri="{BB962C8B-B14F-4D97-AF65-F5344CB8AC3E}">
        <p14:creationId xmlns:p14="http://schemas.microsoft.com/office/powerpoint/2010/main" val="31916690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To forskere i blå laboratoriefrakker studerer grønne planter i et drivhus.">
            <a:extLst>
              <a:ext uri="{FF2B5EF4-FFF2-40B4-BE49-F238E27FC236}">
                <a16:creationId xmlns:a16="http://schemas.microsoft.com/office/drawing/2014/main" id="{0B5233A9-E37F-DCD7-9D31-49B6359D1A0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15102" y="2"/>
            <a:ext cx="5877192" cy="685799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ma- og miljøstrategi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90713ABA-1D1E-DF23-7FAF-79A3321D1F17}"/>
              </a:ext>
            </a:extLst>
          </p:cNvPr>
          <p:cNvSpPr txBox="1"/>
          <p:nvPr/>
        </p:nvSpPr>
        <p:spPr>
          <a:xfrm>
            <a:off x="326164" y="1083600"/>
            <a:ext cx="5209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Våre ambisjoner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26164" y="2055600"/>
            <a:ext cx="4955520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Tilby utdanning i klima, miljø og bærekraft for alle studenter</a:t>
            </a:r>
          </a:p>
          <a:p>
            <a:pPr marL="285750" indent="-285750">
              <a:buFont typeface="Wingdings" pitchFamily="2" charset="2"/>
              <a:buChar char="§"/>
            </a:pP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Styrke tverrfaglig forskning innen klima, miljø og bærekraft</a:t>
            </a:r>
          </a:p>
          <a:p>
            <a:pPr marL="285750" indent="-285750">
              <a:buFont typeface="Wingdings" pitchFamily="2" charset="2"/>
              <a:buChar char="§"/>
            </a:pP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Redusere eget avtrykk og videreutvikle «grønn campus»</a:t>
            </a:r>
          </a:p>
          <a:p>
            <a:pPr marL="285750" indent="-285750">
              <a:buFont typeface="Wingdings" pitchFamily="2" charset="2"/>
              <a:buChar char="§"/>
            </a:pPr>
            <a:endParaRPr lang="nb-NO" sz="1800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298FD256-F068-07B2-65B9-62C7B8075DC8}"/>
              </a:ext>
            </a:extLst>
          </p:cNvPr>
          <p:cNvSpPr txBox="1"/>
          <p:nvPr/>
        </p:nvSpPr>
        <p:spPr>
          <a:xfrm>
            <a:off x="10776228" y="6636599"/>
            <a:ext cx="141577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Foto: </a:t>
            </a:r>
            <a:r>
              <a:rPr lang="en-GB" dirty="0"/>
              <a:t>Jarli &amp; Jordan/UiO</a:t>
            </a:r>
          </a:p>
        </p:txBody>
      </p:sp>
    </p:spTree>
    <p:extLst>
      <p:ext uri="{BB962C8B-B14F-4D97-AF65-F5344CB8AC3E}">
        <p14:creationId xmlns:p14="http://schemas.microsoft.com/office/powerpoint/2010/main" val="4012537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utendørs, himmel, tre, fontene&#10;&#10;Automatisk generert beskrivelse">
            <a:extLst>
              <a:ext uri="{FF2B5EF4-FFF2-40B4-BE49-F238E27FC236}">
                <a16:creationId xmlns:a16="http://schemas.microsoft.com/office/drawing/2014/main" id="{A8A8F63D-F3B5-C7A4-E790-828ED9A7A4E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5431" y="1193474"/>
            <a:ext cx="7506300" cy="225920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60045" y="1193474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ntekter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F38FD66C-8F8F-B093-A527-683553BABC35}"/>
              </a:ext>
            </a:extLst>
          </p:cNvPr>
          <p:cNvSpPr txBox="1"/>
          <p:nvPr/>
        </p:nvSpPr>
        <p:spPr>
          <a:xfrm>
            <a:off x="608719" y="1333806"/>
            <a:ext cx="281088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bg1"/>
                </a:solidFill>
              </a:rPr>
              <a:t>Total inntekt Universitetet i Oslo: </a:t>
            </a:r>
          </a:p>
          <a:p>
            <a:endParaRPr lang="nb-NO" sz="2000" dirty="0">
              <a:solidFill>
                <a:schemeClr val="bg1"/>
              </a:solidFill>
            </a:endParaRPr>
          </a:p>
          <a:p>
            <a:r>
              <a:rPr lang="nb-NO" sz="2800" dirty="0">
                <a:solidFill>
                  <a:schemeClr val="bg1"/>
                </a:solidFill>
              </a:rPr>
              <a:t>9530 millioner kr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379052" y="3747955"/>
            <a:ext cx="3301907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nb-NO" sz="3200" dirty="0">
                <a:solidFill>
                  <a:srgbClr val="5C5BEE"/>
                </a:solidFill>
              </a:rPr>
              <a:t>2652 millioner kr </a:t>
            </a:r>
            <a:br>
              <a:rPr lang="nb-NO" sz="1800" dirty="0">
                <a:solidFill>
                  <a:srgbClr val="5C5BEE"/>
                </a:solidFill>
              </a:rPr>
            </a:br>
            <a:r>
              <a:rPr lang="nb-NO" sz="2000" dirty="0"/>
              <a:t>Bidrag og oppdrag </a:t>
            </a:r>
          </a:p>
          <a:p>
            <a:r>
              <a:rPr lang="nb-NO" sz="1600" dirty="0"/>
              <a:t>Midler fra EU og Norges forskningsråd, øvrige bidrags- og oppdragsinntekter </a:t>
            </a:r>
          </a:p>
          <a:p>
            <a:endParaRPr lang="nb-NO" sz="1800" dirty="0"/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DCF5E13E-F221-D74D-128E-72BA372212BC}"/>
              </a:ext>
            </a:extLst>
          </p:cNvPr>
          <p:cNvSpPr txBox="1"/>
          <p:nvPr/>
        </p:nvSpPr>
        <p:spPr>
          <a:xfrm>
            <a:off x="8161913" y="3747955"/>
            <a:ext cx="310445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>
                <a:solidFill>
                  <a:srgbClr val="5C5BEE"/>
                </a:solidFill>
              </a:rPr>
              <a:t>457 millioner kr</a:t>
            </a:r>
            <a:br>
              <a:rPr lang="nb-NO" sz="1800" dirty="0">
                <a:solidFill>
                  <a:srgbClr val="5C5BEE"/>
                </a:solidFill>
              </a:rPr>
            </a:br>
            <a:r>
              <a:rPr lang="nb-NO" sz="2000" dirty="0"/>
              <a:t>øvrige inntekter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671349" y="3747955"/>
            <a:ext cx="328234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>
                <a:solidFill>
                  <a:srgbClr val="5C5BEE"/>
                </a:solidFill>
              </a:rPr>
              <a:t>6421 millioner kr</a:t>
            </a:r>
            <a:br>
              <a:rPr lang="nb-NO" sz="1800" dirty="0">
                <a:solidFill>
                  <a:srgbClr val="5C5BEE"/>
                </a:solidFill>
              </a:rPr>
            </a:br>
            <a:r>
              <a:rPr lang="nb-NO" sz="2000" dirty="0"/>
              <a:t>Bevilgning basis</a:t>
            </a:r>
          </a:p>
          <a:p>
            <a:endParaRPr lang="nb-NO" sz="1800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51866651-CCCB-5F5E-BD28-F875537668DD}"/>
              </a:ext>
            </a:extLst>
          </p:cNvPr>
          <p:cNvSpPr txBox="1"/>
          <p:nvPr/>
        </p:nvSpPr>
        <p:spPr>
          <a:xfrm>
            <a:off x="10484806" y="3233131"/>
            <a:ext cx="117692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</a:t>
            </a:r>
            <a:r>
              <a:rPr lang="en-GB" sz="800" dirty="0">
                <a:solidFill>
                  <a:schemeClr val="bg1"/>
                </a:solidFill>
              </a:rPr>
              <a:t>Anders Lien/UiO</a:t>
            </a:r>
          </a:p>
        </p:txBody>
      </p:sp>
    </p:spTree>
    <p:extLst>
      <p:ext uri="{BB962C8B-B14F-4D97-AF65-F5344CB8AC3E}">
        <p14:creationId xmlns:p14="http://schemas.microsoft.com/office/powerpoint/2010/main" val="30775452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DAAA209F-DF40-AC2F-3E3E-E5E8291E89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0815" y="1182528"/>
            <a:ext cx="3710916" cy="2364260"/>
          </a:xfrm>
          <a:prstGeom prst="rect">
            <a:avLst/>
          </a:prstGeom>
        </p:spPr>
      </p:pic>
      <p:pic>
        <p:nvPicPr>
          <p:cNvPr id="5" name="Bilde 4" descr="En rekke vindmøller ute på åpent hav.">
            <a:extLst>
              <a:ext uri="{FF2B5EF4-FFF2-40B4-BE49-F238E27FC236}">
                <a16:creationId xmlns:a16="http://schemas.microsoft.com/office/drawing/2014/main" id="{A9FB46CB-0557-E161-943D-F0B1D26ED1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5430" y="1180948"/>
            <a:ext cx="3710914" cy="236742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60045" y="1193474"/>
            <a:ext cx="3710914" cy="22637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t forskningsintensivt breddeuniversitet 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379053" y="3747955"/>
            <a:ext cx="244913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105 </a:t>
            </a:r>
            <a:r>
              <a:rPr lang="nb-NO" sz="2000" dirty="0"/>
              <a:t>prosjekter fra Det europeiske forskningsrådet</a:t>
            </a:r>
          </a:p>
          <a:p>
            <a:endParaRPr lang="nb-NO" sz="1800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86877" y="3747955"/>
            <a:ext cx="348408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30 </a:t>
            </a:r>
            <a:r>
              <a:rPr lang="nb-NO" sz="2000" dirty="0"/>
              <a:t>fremragende sentre (forskning, innovasjon, utdanning, miljøvennlig energi)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DB6293B-6AC3-1006-0817-44132B0AF93A}"/>
              </a:ext>
            </a:extLst>
          </p:cNvPr>
          <p:cNvSpPr txBox="1"/>
          <p:nvPr/>
        </p:nvSpPr>
        <p:spPr>
          <a:xfrm>
            <a:off x="8147747" y="3747955"/>
            <a:ext cx="346826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427 </a:t>
            </a:r>
            <a:r>
              <a:rPr lang="nb-NO" sz="2000" dirty="0"/>
              <a:t>doktorgrader avlagt (2023)</a:t>
            </a:r>
          </a:p>
          <a:p>
            <a:endParaRPr lang="nb-NO" sz="2000" dirty="0"/>
          </a:p>
          <a:p>
            <a:r>
              <a:rPr lang="nb-NO" sz="2000" dirty="0">
                <a:solidFill>
                  <a:schemeClr val="accent6"/>
                </a:solidFill>
              </a:rPr>
              <a:t>57</a:t>
            </a:r>
            <a:r>
              <a:rPr lang="nb-NO" sz="2000" dirty="0"/>
              <a:t> </a:t>
            </a:r>
            <a:r>
              <a:rPr lang="nb-NO" sz="2000" dirty="0">
                <a:solidFill>
                  <a:schemeClr val="accent6"/>
                </a:solidFill>
              </a:rPr>
              <a:t>prosent</a:t>
            </a:r>
            <a:r>
              <a:rPr lang="nb-NO" sz="2000" dirty="0"/>
              <a:t> internasjonale sampublikasjone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454AFDE-F809-576E-B777-552E240A40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0044" y="1182528"/>
            <a:ext cx="3710914" cy="2364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7EE6E3F-7D73-CDD9-109E-916D91E6BEFE}"/>
              </a:ext>
            </a:extLst>
          </p:cNvPr>
          <p:cNvSpPr txBox="1"/>
          <p:nvPr/>
        </p:nvSpPr>
        <p:spPr>
          <a:xfrm>
            <a:off x="3285164" y="3332924"/>
            <a:ext cx="7857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Foto:</a:t>
            </a:r>
            <a:r>
              <a:rPr lang="en-GB" sz="800" dirty="0"/>
              <a:t>CanCell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5783494-8402-D41F-67D2-E7BB52338E18}"/>
              </a:ext>
            </a:extLst>
          </p:cNvPr>
          <p:cNvSpPr txBox="1"/>
          <p:nvPr/>
        </p:nvSpPr>
        <p:spPr>
          <a:xfrm>
            <a:off x="10377405" y="3333130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Jarli &amp; Jordan/UiO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4911B76-6657-3916-6758-4844B26FA992}"/>
              </a:ext>
            </a:extLst>
          </p:cNvPr>
          <p:cNvSpPr txBox="1"/>
          <p:nvPr/>
        </p:nvSpPr>
        <p:spPr>
          <a:xfrm>
            <a:off x="6174855" y="3332924"/>
            <a:ext cx="16914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Nicholas Doherty/Unsplash</a:t>
            </a:r>
          </a:p>
        </p:txBody>
      </p:sp>
    </p:spTree>
    <p:extLst>
      <p:ext uri="{BB962C8B-B14F-4D97-AF65-F5344CB8AC3E}">
        <p14:creationId xmlns:p14="http://schemas.microsoft.com/office/powerpoint/2010/main" val="1066424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Person med ryggen til på et område fylt av solcellepaneler">
            <a:extLst>
              <a:ext uri="{FF2B5EF4-FFF2-40B4-BE49-F238E27FC236}">
                <a16:creationId xmlns:a16="http://schemas.microsoft.com/office/drawing/2014/main" id="{9E965C2D-98F4-1282-BBED-27B4F8231F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0045" y="1175293"/>
            <a:ext cx="3710914" cy="236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niversitetets tre tverrfaglige satsinger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26617" y="3747955"/>
            <a:ext cx="371091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UiO:Energi og miljø</a:t>
            </a:r>
            <a:br>
              <a:rPr lang="nb-NO" sz="2000" dirty="0">
                <a:solidFill>
                  <a:schemeClr val="accent6"/>
                </a:solidFill>
              </a:rPr>
            </a:br>
            <a:endParaRPr lang="nb-NO" sz="2000" dirty="0">
              <a:solidFill>
                <a:schemeClr val="accent6"/>
              </a:solidFill>
            </a:endParaRPr>
          </a:p>
          <a:p>
            <a:r>
              <a:rPr lang="nb-NO" sz="2000" dirty="0"/>
              <a:t>Styrke tverrfaglig forskning innen bærekraftig energi, </a:t>
            </a:r>
            <a:br>
              <a:rPr lang="nb-NO" sz="2000" dirty="0"/>
            </a:br>
            <a:r>
              <a:rPr lang="nb-NO" sz="2000" dirty="0"/>
              <a:t>klima og miljø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B712B1C8-5067-1B15-B26B-BB1E3AC31BF7}"/>
              </a:ext>
            </a:extLst>
          </p:cNvPr>
          <p:cNvSpPr txBox="1"/>
          <p:nvPr/>
        </p:nvSpPr>
        <p:spPr>
          <a:xfrm>
            <a:off x="4344685" y="3747955"/>
            <a:ext cx="307072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UiO:Demokrati</a:t>
            </a:r>
            <a:br>
              <a:rPr lang="nb-NO" sz="2000" dirty="0">
                <a:solidFill>
                  <a:schemeClr val="accent6"/>
                </a:solidFill>
              </a:rPr>
            </a:br>
            <a:endParaRPr lang="nb-NO" sz="2000" dirty="0">
              <a:solidFill>
                <a:schemeClr val="accent6"/>
              </a:solidFill>
            </a:endParaRPr>
          </a:p>
          <a:p>
            <a:r>
              <a:rPr lang="nb-NO" sz="2000" dirty="0"/>
              <a:t>Styrke tverrfaglig forskning innen demokrati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A05CDDF4-6246-EF5B-1EC9-CD2F889638AA}"/>
              </a:ext>
            </a:extLst>
          </p:cNvPr>
          <p:cNvSpPr txBox="1"/>
          <p:nvPr/>
        </p:nvSpPr>
        <p:spPr>
          <a:xfrm>
            <a:off x="8165123" y="3747955"/>
            <a:ext cx="307072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UiO:Livsvitenskap</a:t>
            </a:r>
            <a:br>
              <a:rPr lang="nb-NO" sz="2000" dirty="0">
                <a:solidFill>
                  <a:schemeClr val="accent6"/>
                </a:solidFill>
              </a:rPr>
            </a:br>
            <a:endParaRPr lang="nb-NO" sz="2000" dirty="0">
              <a:solidFill>
                <a:schemeClr val="accent6"/>
              </a:solidFill>
            </a:endParaRPr>
          </a:p>
          <a:p>
            <a:r>
              <a:rPr lang="nb-NO" sz="2000" dirty="0"/>
              <a:t>Styrke tverrfaglig forskning innen helse og miljø</a:t>
            </a:r>
          </a:p>
        </p:txBody>
      </p:sp>
      <p:pic>
        <p:nvPicPr>
          <p:cNvPr id="8" name="Picture 4" descr="Stortinget i Norge opplyst på kveldstid med demonstranter i front.">
            <a:extLst>
              <a:ext uri="{FF2B5EF4-FFF2-40B4-BE49-F238E27FC236}">
                <a16:creationId xmlns:a16="http://schemas.microsoft.com/office/drawing/2014/main" id="{E945BC6F-9AD5-AF08-AB6E-655591205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56001" y="1182224"/>
            <a:ext cx="3709771" cy="236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Forsker i laboratorium som holder et brett med prøver.">
            <a:extLst>
              <a:ext uri="{FF2B5EF4-FFF2-40B4-BE49-F238E27FC236}">
                <a16:creationId xmlns:a16="http://schemas.microsoft.com/office/drawing/2014/main" id="{FA365B84-FEF8-AD4A-232F-54E13527FF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50815" y="1182224"/>
            <a:ext cx="3710916" cy="236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959818E-8F1D-62B1-E25E-D5C73338CF44}"/>
              </a:ext>
            </a:extLst>
          </p:cNvPr>
          <p:cNvSpPr txBox="1"/>
          <p:nvPr/>
        </p:nvSpPr>
        <p:spPr>
          <a:xfrm>
            <a:off x="6442271" y="3332924"/>
            <a:ext cx="1423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</a:t>
            </a:r>
            <a:r>
              <a:rPr lang="en-GB" sz="800" dirty="0">
                <a:solidFill>
                  <a:schemeClr val="bg1"/>
                </a:solidFill>
              </a:rPr>
              <a:t>Audum Braastad/NTB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A46906F-A916-8A10-7BE1-0ECC4C14246D}"/>
              </a:ext>
            </a:extLst>
          </p:cNvPr>
          <p:cNvSpPr txBox="1"/>
          <p:nvPr/>
        </p:nvSpPr>
        <p:spPr>
          <a:xfrm>
            <a:off x="2789982" y="3333600"/>
            <a:ext cx="12811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</a:t>
            </a:r>
            <a:r>
              <a:rPr lang="en-GB" sz="800" dirty="0">
                <a:solidFill>
                  <a:schemeClr val="bg1"/>
                </a:solidFill>
              </a:rPr>
              <a:t> Getty stock imag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2D6DC5-31A2-44EB-357F-4FB5152D9B65}"/>
              </a:ext>
            </a:extLst>
          </p:cNvPr>
          <p:cNvSpPr txBox="1"/>
          <p:nvPr/>
        </p:nvSpPr>
        <p:spPr>
          <a:xfrm>
            <a:off x="10377405" y="3332924"/>
            <a:ext cx="12843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Jarli &amp; Jordan/UiO</a:t>
            </a:r>
          </a:p>
        </p:txBody>
      </p:sp>
    </p:spTree>
    <p:extLst>
      <p:ext uri="{BB962C8B-B14F-4D97-AF65-F5344CB8AC3E}">
        <p14:creationId xmlns:p14="http://schemas.microsoft.com/office/powerpoint/2010/main" val="3077848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982FC97A4EB864EBF6B6ADD443A67CC" ma:contentTypeVersion="14" ma:contentTypeDescription="Opprett et nytt dokument." ma:contentTypeScope="" ma:versionID="a59811bd92298090e6a76c55d4651efa">
  <xsd:schema xmlns:xsd="http://www.w3.org/2001/XMLSchema" xmlns:xs="http://www.w3.org/2001/XMLSchema" xmlns:p="http://schemas.microsoft.com/office/2006/metadata/properties" xmlns:ns2="3b00a67f-9791-437e-b702-303a706ea042" xmlns:ns3="7dc3d6ed-56f1-49b6-b310-0ff680cfe62a" targetNamespace="http://schemas.microsoft.com/office/2006/metadata/properties" ma:root="true" ma:fieldsID="4c3e1f195df9422cebd772257e8ef87d" ns2:_="" ns3:_="">
    <xsd:import namespace="3b00a67f-9791-437e-b702-303a706ea042"/>
    <xsd:import namespace="7dc3d6ed-56f1-49b6-b310-0ff680cfe62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0a67f-9791-437e-b702-303a706ea0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Bildemerkelapper" ma:readOnly="false" ma:fieldId="{5cf76f15-5ced-4ddc-b409-7134ff3c332f}" ma:taxonomyMulti="true" ma:sspId="378a55df-a9cd-4882-8adc-9ae50d80558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c3d6ed-56f1-49b6-b310-0ff680cfe62a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a9d73458-8fb0-4777-9551-357d96ad6676}" ma:internalName="TaxCatchAll" ma:showField="CatchAllData" ma:web="7dc3d6ed-56f1-49b6-b310-0ff680cfe62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b00a67f-9791-437e-b702-303a706ea042">
      <Terms xmlns="http://schemas.microsoft.com/office/infopath/2007/PartnerControls"/>
    </lcf76f155ced4ddcb4097134ff3c332f>
    <TaxCatchAll xmlns="7dc3d6ed-56f1-49b6-b310-0ff680cfe62a" xsi:nil="true"/>
  </documentManagement>
</p:propertie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EFA9B6-6876-44E5-81EA-00B653AE6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00a67f-9791-437e-b702-303a706ea042"/>
    <ds:schemaRef ds:uri="7dc3d6ed-56f1-49b6-b310-0ff680cfe62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www.w3.org/XML/1998/namespace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7dc3d6ed-56f1-49b6-b310-0ff680cfe62a"/>
    <ds:schemaRef ds:uri="3b00a67f-9791-437e-b702-303a706ea042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463b6811-b0a4-4b2a-b932-72c4c970c5d2}" enabled="0" method="" siteId="{463b6811-b0a4-4b2a-b932-72c4c970c5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77</TotalTime>
  <Words>1616</Words>
  <Application>Microsoft Office PowerPoint</Application>
  <PresentationFormat>Widescreen</PresentationFormat>
  <Paragraphs>249</Paragraphs>
  <Slides>19</Slides>
  <Notes>19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9</vt:i4>
      </vt:variant>
    </vt:vector>
  </HeadingPairs>
  <TitlesOfParts>
    <vt:vector size="30" baseType="lpstr">
      <vt:lpstr>arial</vt:lpstr>
      <vt:lpstr>arial</vt:lpstr>
      <vt:lpstr>Arial, sans-serif</vt:lpstr>
      <vt:lpstr>Calibri</vt:lpstr>
      <vt:lpstr>Georgia</vt:lpstr>
      <vt:lpstr>Helvetica</vt:lpstr>
      <vt:lpstr>Verdana</vt:lpstr>
      <vt:lpstr>Wingdings</vt:lpstr>
      <vt:lpstr>Office Theme</vt:lpstr>
      <vt:lpstr>1_Office Theme</vt:lpstr>
      <vt:lpstr>think-cell Slide</vt:lpstr>
      <vt:lpstr>Et ledende europeisk universitet</vt:lpstr>
      <vt:lpstr>PowerPoint-presentasjon</vt:lpstr>
      <vt:lpstr>Universitetet i Oslo i dag</vt:lpstr>
      <vt:lpstr>Campuser</vt:lpstr>
      <vt:lpstr>Strategi 2030</vt:lpstr>
      <vt:lpstr>Klima- og miljøstrategi</vt:lpstr>
      <vt:lpstr>Inntekter</vt:lpstr>
      <vt:lpstr>Et forskningsintensivt breddeuniversitet </vt:lpstr>
      <vt:lpstr>Universitetets tre tverrfaglige satsinger</vt:lpstr>
      <vt:lpstr>Det globale UiO</vt:lpstr>
      <vt:lpstr>Utdanning</vt:lpstr>
      <vt:lpstr>Circle U.</vt:lpstr>
      <vt:lpstr>Kunnskap i bruk</vt:lpstr>
      <vt:lpstr>Fra grunnforskning til innovasjon</vt:lpstr>
      <vt:lpstr>Forskningsparken</vt:lpstr>
      <vt:lpstr>Innovasjonsdistrikt</vt:lpstr>
      <vt:lpstr>The Guild of European Research-Intensive Universities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in Almvik</dc:creator>
  <cp:lastModifiedBy>Kjersti Gjærum Stensrud</cp:lastModifiedBy>
  <cp:revision>243</cp:revision>
  <cp:lastPrinted>2023-06-09T08:50:53Z</cp:lastPrinted>
  <dcterms:created xsi:type="dcterms:W3CDTF">2021-01-26T13:53:08Z</dcterms:created>
  <dcterms:modified xsi:type="dcterms:W3CDTF">2024-03-27T08:3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82FC97A4EB864EBF6B6ADD443A67CC</vt:lpwstr>
  </property>
  <property fmtid="{D5CDD505-2E9C-101B-9397-08002B2CF9AE}" pid="3" name="MediaServiceImageTags">
    <vt:lpwstr/>
  </property>
</Properties>
</file>